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564" r:id="rId2"/>
    <p:sldId id="574" r:id="rId3"/>
    <p:sldId id="569" r:id="rId4"/>
    <p:sldId id="555" r:id="rId5"/>
    <p:sldId id="588" r:id="rId6"/>
    <p:sldId id="570" r:id="rId7"/>
    <p:sldId id="575" r:id="rId8"/>
    <p:sldId id="571" r:id="rId9"/>
    <p:sldId id="573" r:id="rId10"/>
    <p:sldId id="591" r:id="rId11"/>
    <p:sldId id="590" r:id="rId12"/>
    <p:sldId id="576" r:id="rId13"/>
    <p:sldId id="577" r:id="rId14"/>
    <p:sldId id="578" r:id="rId15"/>
    <p:sldId id="579" r:id="rId16"/>
    <p:sldId id="580" r:id="rId17"/>
    <p:sldId id="581" r:id="rId18"/>
    <p:sldId id="582" r:id="rId19"/>
  </p:sldIdLst>
  <p:sldSz cx="12192000" cy="6858000"/>
  <p:notesSz cx="7077075" cy="93853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99"/>
    <a:srgbClr val="5B9BD5"/>
    <a:srgbClr val="FFFFFF"/>
    <a:srgbClr val="C2C2C2"/>
    <a:srgbClr val="CECECE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243" autoAdjust="0"/>
    <p:restoredTop sz="94573" autoAdjust="0"/>
  </p:normalViewPr>
  <p:slideViewPr>
    <p:cSldViewPr snapToGrid="0">
      <p:cViewPr varScale="1">
        <p:scale>
          <a:sx n="68" d="100"/>
          <a:sy n="68" d="100"/>
        </p:scale>
        <p:origin x="1014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7050" cy="471488"/>
          </a:xfrm>
          <a:prstGeom prst="rect">
            <a:avLst/>
          </a:prstGeom>
        </p:spPr>
        <p:txBody>
          <a:bodyPr vert="horz" lIns="94064" tIns="47032" rIns="94064" bIns="47032" rtlCol="0"/>
          <a:lstStyle>
            <a:lvl1pPr algn="l"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438" y="0"/>
            <a:ext cx="3067050" cy="471488"/>
          </a:xfrm>
          <a:prstGeom prst="rect">
            <a:avLst/>
          </a:prstGeom>
        </p:spPr>
        <p:txBody>
          <a:bodyPr vert="horz" lIns="94064" tIns="47032" rIns="94064" bIns="47032" rtlCol="0"/>
          <a:lstStyle>
            <a:lvl1pPr algn="r" eaLnBrk="0" hangingPunct="0">
              <a:defRPr sz="1200" smtClean="0">
                <a:cs typeface="+mn-cs"/>
              </a:defRPr>
            </a:lvl1pPr>
          </a:lstStyle>
          <a:p>
            <a:pPr>
              <a:defRPr/>
            </a:pPr>
            <a:fld id="{055615E1-F157-49C4-9B54-85552EEC20DA}" type="datetimeFigureOut">
              <a:rPr lang="en-US"/>
              <a:pPr>
                <a:defRPr/>
              </a:pPr>
              <a:t>12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913813"/>
            <a:ext cx="3067050" cy="471487"/>
          </a:xfrm>
          <a:prstGeom prst="rect">
            <a:avLst/>
          </a:prstGeom>
        </p:spPr>
        <p:txBody>
          <a:bodyPr vert="horz" lIns="94064" tIns="47032" rIns="94064" bIns="47032" rtlCol="0" anchor="b"/>
          <a:lstStyle>
            <a:lvl1pPr algn="l"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438" y="8913813"/>
            <a:ext cx="3067050" cy="471487"/>
          </a:xfrm>
          <a:prstGeom prst="rect">
            <a:avLst/>
          </a:prstGeom>
        </p:spPr>
        <p:txBody>
          <a:bodyPr vert="horz" wrap="square" lIns="94064" tIns="47032" rIns="94064" bIns="47032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fld id="{7F04C5A1-8050-45FE-834A-F32B5A8F3DC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185174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7050" cy="471488"/>
          </a:xfrm>
          <a:prstGeom prst="rect">
            <a:avLst/>
          </a:prstGeom>
        </p:spPr>
        <p:txBody>
          <a:bodyPr vert="horz" lIns="94064" tIns="47032" rIns="94064" bIns="47032" rtlCol="0"/>
          <a:lstStyle>
            <a:lvl1pPr algn="l"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438" y="0"/>
            <a:ext cx="3067050" cy="471488"/>
          </a:xfrm>
          <a:prstGeom prst="rect">
            <a:avLst/>
          </a:prstGeom>
        </p:spPr>
        <p:txBody>
          <a:bodyPr vert="horz" lIns="94064" tIns="47032" rIns="94064" bIns="47032" rtlCol="0"/>
          <a:lstStyle>
            <a:lvl1pPr algn="r"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fld id="{BFBEA6FE-3547-4DBF-8CE6-A9A2A24A2084}" type="datetimeFigureOut">
              <a:rPr lang="en-US"/>
              <a:pPr>
                <a:defRPr/>
              </a:pPr>
              <a:t>12/10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1173163"/>
            <a:ext cx="5629275" cy="31670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64" tIns="47032" rIns="94064" bIns="47032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8025" y="4516438"/>
            <a:ext cx="5661025" cy="3695700"/>
          </a:xfrm>
          <a:prstGeom prst="rect">
            <a:avLst/>
          </a:prstGeom>
        </p:spPr>
        <p:txBody>
          <a:bodyPr vert="horz" lIns="94064" tIns="47032" rIns="94064" bIns="47032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3813"/>
            <a:ext cx="3067050" cy="471487"/>
          </a:xfrm>
          <a:prstGeom prst="rect">
            <a:avLst/>
          </a:prstGeom>
        </p:spPr>
        <p:txBody>
          <a:bodyPr vert="horz" lIns="94064" tIns="47032" rIns="94064" bIns="47032" rtlCol="0" anchor="b"/>
          <a:lstStyle>
            <a:lvl1pPr algn="l"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438" y="8913813"/>
            <a:ext cx="3067050" cy="471487"/>
          </a:xfrm>
          <a:prstGeom prst="rect">
            <a:avLst/>
          </a:prstGeom>
        </p:spPr>
        <p:txBody>
          <a:bodyPr vert="horz" wrap="square" lIns="94064" tIns="47032" rIns="94064" bIns="47032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fld id="{9DC93AAB-CC68-4658-883D-C51B0310B97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219765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C93AAB-CC68-4658-883D-C51B0310B979}" type="slidenum">
              <a:rPr lang="en-US" altLang="en-US" smtClean="0"/>
              <a:pPr/>
              <a:t>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70441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823450" cy="405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lowchart: Manual Input 4"/>
          <p:cNvSpPr/>
          <p:nvPr userDrawn="1"/>
        </p:nvSpPr>
        <p:spPr>
          <a:xfrm rot="5400000" flipH="1">
            <a:off x="-2073275" y="2063750"/>
            <a:ext cx="6875463" cy="2728913"/>
          </a:xfrm>
          <a:prstGeom prst="flowChartManualInput">
            <a:avLst/>
          </a:prstGeom>
          <a:solidFill>
            <a:schemeClr val="bg2">
              <a:lumMod val="10000"/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4056063"/>
            <a:ext cx="9999663" cy="2801937"/>
          </a:xfrm>
          <a:prstGeom prst="rect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7" name="Flowchart: Manual Input 6"/>
          <p:cNvSpPr/>
          <p:nvPr userDrawn="1"/>
        </p:nvSpPr>
        <p:spPr>
          <a:xfrm rot="5400000" flipH="1" flipV="1">
            <a:off x="7381875" y="2047875"/>
            <a:ext cx="6858000" cy="2762250"/>
          </a:xfrm>
          <a:prstGeom prst="flowChartManualInput">
            <a:avLst/>
          </a:prstGeom>
          <a:gradFill flip="none" rotWithShape="1">
            <a:gsLst>
              <a:gs pos="0">
                <a:srgbClr val="001D34"/>
              </a:gs>
              <a:gs pos="100000">
                <a:srgbClr val="001D3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0185400" y="6396038"/>
            <a:ext cx="1820863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defRPr/>
            </a:pPr>
            <a:r>
              <a:rPr lang="hu-HU" sz="1400" smtClean="0">
                <a:solidFill>
                  <a:srgbClr val="FFFFFF"/>
                </a:solidFill>
                <a:latin typeface="Arial Narrow" panose="020B0606020202030204" pitchFamily="34" charset="0"/>
                <a:cs typeface="+mn-cs"/>
              </a:rPr>
              <a:t>IBM &amp; Client Confidential</a:t>
            </a:r>
            <a:endParaRPr lang="hu-HU" sz="2400" smtClean="0">
              <a:solidFill>
                <a:srgbClr val="FFFFFF"/>
              </a:solidFill>
              <a:latin typeface="Arial Narrow" panose="020B0606020202030204" pitchFamily="34" charset="0"/>
              <a:cs typeface="+mn-cs"/>
            </a:endParaRPr>
          </a:p>
        </p:txBody>
      </p:sp>
      <p:pic>
        <p:nvPicPr>
          <p:cNvPr id="9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2513" y="295275"/>
            <a:ext cx="727075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lowchart: Manual Input 60"/>
          <p:cNvSpPr/>
          <p:nvPr userDrawn="1"/>
        </p:nvSpPr>
        <p:spPr>
          <a:xfrm rot="5400000" flipH="1">
            <a:off x="-200025" y="4256088"/>
            <a:ext cx="2801937" cy="2401888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895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895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895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895"/>
                </a:lnTo>
                <a:close/>
              </a:path>
            </a:pathLst>
          </a:custGeom>
          <a:blipFill dpi="0" rotWithShape="0">
            <a:blip r:embed="rId4" cstate="print">
              <a:alphaModFix amt="47000"/>
              <a:extLst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11" name="Flowchart: Manual Input 10"/>
          <p:cNvSpPr/>
          <p:nvPr userDrawn="1"/>
        </p:nvSpPr>
        <p:spPr>
          <a:xfrm rot="16200000" flipV="1">
            <a:off x="-2074862" y="2063749"/>
            <a:ext cx="6858000" cy="2730501"/>
          </a:xfrm>
          <a:prstGeom prst="flowChartManualInpu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20537" y="4326673"/>
            <a:ext cx="6798900" cy="1177504"/>
          </a:xfrm>
        </p:spPr>
        <p:txBody>
          <a:bodyPr/>
          <a:lstStyle>
            <a:lvl1pPr algn="l"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20537" y="5511799"/>
            <a:ext cx="6809213" cy="705481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63486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823450" cy="405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lowchart: Manual Input 4"/>
          <p:cNvSpPr/>
          <p:nvPr userDrawn="1"/>
        </p:nvSpPr>
        <p:spPr>
          <a:xfrm rot="5400000" flipH="1">
            <a:off x="-2073275" y="2063750"/>
            <a:ext cx="6875463" cy="2728913"/>
          </a:xfrm>
          <a:prstGeom prst="flowChartManualInput">
            <a:avLst/>
          </a:prstGeom>
          <a:solidFill>
            <a:schemeClr val="bg2">
              <a:lumMod val="10000"/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4056063"/>
            <a:ext cx="9999663" cy="2801937"/>
          </a:xfrm>
          <a:prstGeom prst="rect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7" name="Flowchart: Manual Input 6"/>
          <p:cNvSpPr/>
          <p:nvPr userDrawn="1"/>
        </p:nvSpPr>
        <p:spPr>
          <a:xfrm rot="5400000" flipH="1" flipV="1">
            <a:off x="7381875" y="2047875"/>
            <a:ext cx="6858000" cy="2762250"/>
          </a:xfrm>
          <a:prstGeom prst="flowChartManualInput">
            <a:avLst/>
          </a:prstGeom>
          <a:gradFill flip="none" rotWithShape="1">
            <a:gsLst>
              <a:gs pos="0">
                <a:srgbClr val="001D34"/>
              </a:gs>
              <a:gs pos="100000">
                <a:srgbClr val="001D3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0185400" y="6396038"/>
            <a:ext cx="1895071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defRPr/>
            </a:pPr>
            <a:r>
              <a:rPr lang="hu-HU" sz="1400" dirty="0" smtClean="0">
                <a:solidFill>
                  <a:srgbClr val="FFFFFF"/>
                </a:solidFill>
                <a:latin typeface="Arial Narrow" panose="020B0606020202030204" pitchFamily="34" charset="0"/>
                <a:cs typeface="+mn-cs"/>
              </a:rPr>
              <a:t>ECB and IBM Confidential</a:t>
            </a:r>
          </a:p>
        </p:txBody>
      </p:sp>
      <p:pic>
        <p:nvPicPr>
          <p:cNvPr id="9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2513" y="295275"/>
            <a:ext cx="727075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lowchart: Manual Input 9"/>
          <p:cNvSpPr/>
          <p:nvPr userDrawn="1"/>
        </p:nvSpPr>
        <p:spPr>
          <a:xfrm rot="16200000" flipV="1">
            <a:off x="-2074862" y="2063749"/>
            <a:ext cx="6858000" cy="2730501"/>
          </a:xfrm>
          <a:prstGeom prst="flowChartManualInpu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11" name="Flowchart: Manual Input 60"/>
          <p:cNvSpPr/>
          <p:nvPr userDrawn="1"/>
        </p:nvSpPr>
        <p:spPr>
          <a:xfrm rot="5400000" flipH="1">
            <a:off x="-200025" y="4256088"/>
            <a:ext cx="2801937" cy="2401888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895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895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895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895"/>
                </a:lnTo>
                <a:close/>
              </a:path>
            </a:pathLst>
          </a:custGeom>
          <a:blipFill dpi="0" rotWithShape="0">
            <a:blip r:embed="rId4" cstate="print">
              <a:extLst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20537" y="4326673"/>
            <a:ext cx="6798900" cy="1177504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20537" y="5511799"/>
            <a:ext cx="6809213" cy="705481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9501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" descr="5300_IBMpos_black_PPT_bkgd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0563" y="200025"/>
            <a:ext cx="974725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184" y="622099"/>
            <a:ext cx="11459633" cy="65864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</p:nvPr>
        </p:nvSpPr>
        <p:spPr bwMode="black">
          <a:xfrm>
            <a:off x="242888" y="6537325"/>
            <a:ext cx="488950" cy="184150"/>
          </a:xfrm>
          <a:prstGeom prst="rect">
            <a:avLst/>
          </a:prstGeom>
          <a:ex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000000"/>
                </a:solidFill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1DFA2C9-77F6-4ADE-9927-1FD769BFCD5D}" type="slidenum">
              <a:rPr lang="en-US" altLang="en-US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ea typeface="MS PGothic" pitchFamily="34" charset="-128"/>
            </a:endParaRPr>
          </a:p>
        </p:txBody>
      </p:sp>
      <p:sp>
        <p:nvSpPr>
          <p:cNvPr id="8" name="Footer Placeholder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 eaLnBrk="1" hangingPunct="1">
              <a:defRPr sz="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ECB and IBM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6212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ECB and IBM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3880" y="6350001"/>
            <a:ext cx="2743200" cy="365125"/>
          </a:xfrm>
        </p:spPr>
        <p:txBody>
          <a:bodyPr/>
          <a:lstStyle>
            <a:lvl1pPr algn="l"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303673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54288" y="1430338"/>
            <a:ext cx="8799512" cy="474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/>
              <a:t>Click to edit Master text styles</a:t>
            </a:r>
          </a:p>
          <a:p>
            <a:pPr lvl="1"/>
            <a:r>
              <a:rPr lang="en-US" altLang="hu-HU" smtClean="0"/>
              <a:t>Second level</a:t>
            </a:r>
          </a:p>
          <a:p>
            <a:pPr lvl="2"/>
            <a:r>
              <a:rPr lang="en-US" altLang="hu-HU" smtClean="0"/>
              <a:t>Third level</a:t>
            </a:r>
          </a:p>
          <a:p>
            <a:pPr lvl="3"/>
            <a:r>
              <a:rPr lang="en-US" altLang="hu-HU" smtClean="0"/>
              <a:t>Fourth level</a:t>
            </a:r>
          </a:p>
          <a:p>
            <a:pPr lvl="4"/>
            <a:r>
              <a:rPr lang="en-US" altLang="hu-HU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6/8/217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ECB and IBM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9D0FAA09-0A0A-4D14-8EEA-358E5D0FE170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037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2513" y="295275"/>
            <a:ext cx="727075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8" name="Title Placeholder 1"/>
          <p:cNvSpPr>
            <a:spLocks noGrp="1"/>
          </p:cNvSpPr>
          <p:nvPr>
            <p:ph type="title"/>
          </p:nvPr>
        </p:nvSpPr>
        <p:spPr bwMode="auto">
          <a:xfrm>
            <a:off x="2554288" y="133350"/>
            <a:ext cx="6846887" cy="75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/>
              <a:t>Click to edit Master title style</a:t>
            </a:r>
          </a:p>
        </p:txBody>
      </p:sp>
      <p:pic>
        <p:nvPicPr>
          <p:cNvPr id="14" name="Picture 9" descr="https://www.ecb.europa.eu/shared/dist/img/logos/logos-ecb/ECB_EN_RGB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5338" y="120650"/>
            <a:ext cx="1034797" cy="45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 descr="Image result for ibm logo transparent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7542" y="6435248"/>
            <a:ext cx="872593" cy="388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30" r:id="rId4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bg1"/>
          </a:solidFill>
          <a:latin typeface="Arial Narrow" panose="020B060602020203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 Narrow" panose="020B0606020202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 Narrow" panose="020B0606020202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 Narrow" panose="020B0606020202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 Narrow" panose="020B0606020202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CASPER permissions management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Umesh Nimbalk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537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10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gning permissions to </a:t>
            </a:r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les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8" name="Table 37"/>
          <p:cNvGraphicFramePr>
            <a:graphicFrameLocks noGrp="1"/>
          </p:cNvGraphicFramePr>
          <p:nvPr>
            <p:extLst/>
          </p:nvPr>
        </p:nvGraphicFramePr>
        <p:xfrm>
          <a:off x="473516" y="1294342"/>
          <a:ext cx="2554070" cy="40792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554070"/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COLLECTION_APPROV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NT_COLLECTION_DESIGNER</a:t>
                      </a:r>
                    </a:p>
                  </a:txBody>
                  <a:tcPr marL="9525" marR="9525" marT="9525" marB="0" anchor="b">
                    <a:solidFill>
                      <a:srgbClr val="00009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COLLECTION_US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_DATA_SUBMITT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_SUBMISSION_APPROV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SUPER_USER_ADMIN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USER_ADMIN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_USER_ADMIN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TECHNICAL_US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_TECHNICAL_US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SYSTEM_SUPPORT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cxnSp>
        <p:nvCxnSpPr>
          <p:cNvPr id="40" name="Straight Connector 39"/>
          <p:cNvCxnSpPr/>
          <p:nvPr/>
        </p:nvCxnSpPr>
        <p:spPr>
          <a:xfrm>
            <a:off x="5847219" y="2886749"/>
            <a:ext cx="20161" cy="4591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4531891" y="1438860"/>
            <a:ext cx="2533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repare Data Definition</a:t>
            </a:r>
            <a:endParaRPr lang="en-US" dirty="0"/>
          </a:p>
        </p:txBody>
      </p:sp>
      <p:sp>
        <p:nvSpPr>
          <p:cNvPr id="42" name="TextBox 41"/>
          <p:cNvSpPr txBox="1"/>
          <p:nvPr/>
        </p:nvSpPr>
        <p:spPr>
          <a:xfrm>
            <a:off x="5067049" y="2032659"/>
            <a:ext cx="2533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"/>
            <a:r>
              <a:rPr lang="en-US" dirty="0"/>
              <a:t>Manage Entity Group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5923649" y="2618329"/>
            <a:ext cx="17978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Add </a:t>
            </a:r>
            <a:r>
              <a:rPr lang="en-US" dirty="0"/>
              <a:t>Entity Group</a:t>
            </a:r>
          </a:p>
        </p:txBody>
      </p:sp>
      <p:sp>
        <p:nvSpPr>
          <p:cNvPr id="45" name="Rectangle 44"/>
          <p:cNvSpPr/>
          <p:nvPr/>
        </p:nvSpPr>
        <p:spPr>
          <a:xfrm>
            <a:off x="5923649" y="2987661"/>
            <a:ext cx="17816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Edit Entity </a:t>
            </a:r>
            <a:r>
              <a:rPr lang="en-US" dirty="0"/>
              <a:t>Group</a:t>
            </a:r>
          </a:p>
        </p:txBody>
      </p:sp>
      <p:cxnSp>
        <p:nvCxnSpPr>
          <p:cNvPr id="48" name="Straight Connector 47"/>
          <p:cNvCxnSpPr/>
          <p:nvPr/>
        </p:nvCxnSpPr>
        <p:spPr>
          <a:xfrm>
            <a:off x="4419352" y="1717590"/>
            <a:ext cx="30860" cy="19259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4419350" y="2217324"/>
            <a:ext cx="39448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4912308" y="2311389"/>
            <a:ext cx="21933" cy="5091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4912304" y="2811124"/>
            <a:ext cx="83644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Picture 5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0696" y="2663473"/>
            <a:ext cx="293045" cy="293045"/>
          </a:xfrm>
          <a:prstGeom prst="rect">
            <a:avLst/>
          </a:prstGeom>
        </p:spPr>
      </p:pic>
      <p:sp>
        <p:nvSpPr>
          <p:cNvPr id="78" name="TextBox 77"/>
          <p:cNvSpPr txBox="1"/>
          <p:nvPr/>
        </p:nvSpPr>
        <p:spPr>
          <a:xfrm>
            <a:off x="5067049" y="3478857"/>
            <a:ext cx="2533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"/>
            <a:r>
              <a:rPr lang="en-US" dirty="0"/>
              <a:t>Manage </a:t>
            </a:r>
            <a:r>
              <a:rPr lang="en-US" dirty="0" smtClean="0"/>
              <a:t>Entities</a:t>
            </a:r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4429009" y="3673031"/>
            <a:ext cx="381164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/>
        </p:nvCxnSpPr>
        <p:spPr>
          <a:xfrm>
            <a:off x="5861039" y="4377206"/>
            <a:ext cx="20161" cy="4591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/>
          <p:cNvSpPr/>
          <p:nvPr/>
        </p:nvSpPr>
        <p:spPr>
          <a:xfrm>
            <a:off x="5993741" y="4108786"/>
            <a:ext cx="11571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Add Entity</a:t>
            </a:r>
            <a:endParaRPr lang="en-US" dirty="0"/>
          </a:p>
        </p:txBody>
      </p:sp>
      <p:sp>
        <p:nvSpPr>
          <p:cNvPr id="82" name="Rectangle 81"/>
          <p:cNvSpPr/>
          <p:nvPr/>
        </p:nvSpPr>
        <p:spPr>
          <a:xfrm>
            <a:off x="5990105" y="4548271"/>
            <a:ext cx="11409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Edit Entity</a:t>
            </a:r>
            <a:endParaRPr lang="en-US" dirty="0"/>
          </a:p>
        </p:txBody>
      </p:sp>
      <p:cxnSp>
        <p:nvCxnSpPr>
          <p:cNvPr id="83" name="Straight Connector 82"/>
          <p:cNvCxnSpPr/>
          <p:nvPr/>
        </p:nvCxnSpPr>
        <p:spPr>
          <a:xfrm>
            <a:off x="4982400" y="3801846"/>
            <a:ext cx="21933" cy="5091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4982396" y="4301581"/>
            <a:ext cx="83644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7137" y="1455604"/>
            <a:ext cx="366149" cy="35258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801436" y="3533702"/>
            <a:ext cx="265613" cy="268144"/>
          </a:xfrm>
          <a:prstGeom prst="rect">
            <a:avLst/>
          </a:prstGeom>
          <a:solidFill>
            <a:schemeClr val="bg1"/>
          </a:solidFill>
          <a:ln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5714411" y="4179217"/>
            <a:ext cx="265613" cy="268144"/>
          </a:xfrm>
          <a:prstGeom prst="rect">
            <a:avLst/>
          </a:prstGeom>
          <a:solidFill>
            <a:schemeClr val="bg1"/>
          </a:solidFill>
          <a:ln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5724492" y="4586042"/>
            <a:ext cx="265613" cy="268144"/>
          </a:xfrm>
          <a:prstGeom prst="rect">
            <a:avLst/>
          </a:prstGeom>
          <a:solidFill>
            <a:schemeClr val="bg1"/>
          </a:solidFill>
          <a:ln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5714411" y="3066972"/>
            <a:ext cx="265613" cy="268144"/>
          </a:xfrm>
          <a:prstGeom prst="rect">
            <a:avLst/>
          </a:prstGeom>
          <a:solidFill>
            <a:schemeClr val="bg1"/>
          </a:solidFill>
          <a:ln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9229" y="2087220"/>
            <a:ext cx="366149" cy="35258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37625" y="1167618"/>
            <a:ext cx="7934178" cy="443132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425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11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gning permissions to </a:t>
            </a:r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les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8" name="Table 37"/>
          <p:cNvGraphicFramePr>
            <a:graphicFrameLocks noGrp="1"/>
          </p:cNvGraphicFramePr>
          <p:nvPr>
            <p:extLst/>
          </p:nvPr>
        </p:nvGraphicFramePr>
        <p:xfrm>
          <a:off x="473516" y="1294342"/>
          <a:ext cx="2554070" cy="40792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554070"/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COLLECTION_APPROV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NT_COLLECTION_DESIGNER</a:t>
                      </a:r>
                    </a:p>
                  </a:txBody>
                  <a:tcPr marL="9525" marR="9525" marT="9525" marB="0" anchor="b">
                    <a:solidFill>
                      <a:srgbClr val="00009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COLLECTION_US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_DATA_SUBMITT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_SUBMISSION_APPROV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SUPER_USER_ADMIN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USER_ADMIN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_USER_ADMIN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TECHNICAL_US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_TECHNICAL_US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SYSTEM_SUPPORT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cxnSp>
        <p:nvCxnSpPr>
          <p:cNvPr id="40" name="Straight Connector 39"/>
          <p:cNvCxnSpPr>
            <a:endCxn id="61" idx="2"/>
          </p:cNvCxnSpPr>
          <p:nvPr/>
        </p:nvCxnSpPr>
        <p:spPr>
          <a:xfrm>
            <a:off x="5847219" y="2886749"/>
            <a:ext cx="20161" cy="4591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4531891" y="1438860"/>
            <a:ext cx="2533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repare Data Definition</a:t>
            </a:r>
            <a:endParaRPr lang="en-US" dirty="0"/>
          </a:p>
        </p:txBody>
      </p:sp>
      <p:sp>
        <p:nvSpPr>
          <p:cNvPr id="42" name="TextBox 41"/>
          <p:cNvSpPr txBox="1"/>
          <p:nvPr/>
        </p:nvSpPr>
        <p:spPr>
          <a:xfrm>
            <a:off x="5067049" y="2032659"/>
            <a:ext cx="2533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"/>
            <a:r>
              <a:rPr lang="en-US" dirty="0"/>
              <a:t>Manage Entity Group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5923649" y="2618329"/>
            <a:ext cx="17978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Add </a:t>
            </a:r>
            <a:r>
              <a:rPr lang="en-US" dirty="0"/>
              <a:t>Entity Group</a:t>
            </a:r>
          </a:p>
        </p:txBody>
      </p:sp>
      <p:sp>
        <p:nvSpPr>
          <p:cNvPr id="45" name="Rectangle 44"/>
          <p:cNvSpPr/>
          <p:nvPr/>
        </p:nvSpPr>
        <p:spPr>
          <a:xfrm>
            <a:off x="5923649" y="2987661"/>
            <a:ext cx="17816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Edit Entity </a:t>
            </a:r>
            <a:r>
              <a:rPr lang="en-US" dirty="0"/>
              <a:t>Group</a:t>
            </a:r>
          </a:p>
        </p:txBody>
      </p:sp>
      <p:cxnSp>
        <p:nvCxnSpPr>
          <p:cNvPr id="48" name="Straight Connector 47"/>
          <p:cNvCxnSpPr/>
          <p:nvPr/>
        </p:nvCxnSpPr>
        <p:spPr>
          <a:xfrm>
            <a:off x="4419352" y="1717590"/>
            <a:ext cx="30860" cy="19259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4419350" y="2217324"/>
            <a:ext cx="39448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4912308" y="2311389"/>
            <a:ext cx="21933" cy="5091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4912304" y="2811124"/>
            <a:ext cx="83644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1436" y="2080311"/>
            <a:ext cx="293045" cy="293045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0696" y="2663473"/>
            <a:ext cx="293045" cy="293045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20857" y="3052862"/>
            <a:ext cx="293045" cy="293045"/>
          </a:xfrm>
          <a:prstGeom prst="rect">
            <a:avLst/>
          </a:prstGeom>
        </p:spPr>
      </p:pic>
      <p:sp>
        <p:nvSpPr>
          <p:cNvPr id="78" name="TextBox 77"/>
          <p:cNvSpPr txBox="1"/>
          <p:nvPr/>
        </p:nvSpPr>
        <p:spPr>
          <a:xfrm>
            <a:off x="5067049" y="3478857"/>
            <a:ext cx="2533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"/>
            <a:r>
              <a:rPr lang="en-US" dirty="0"/>
              <a:t>Manage </a:t>
            </a:r>
            <a:r>
              <a:rPr lang="en-US" dirty="0" smtClean="0"/>
              <a:t>Entities</a:t>
            </a:r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4429009" y="3673031"/>
            <a:ext cx="381164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/>
        </p:nvCxnSpPr>
        <p:spPr>
          <a:xfrm>
            <a:off x="5861039" y="4377206"/>
            <a:ext cx="20161" cy="4591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/>
          <p:cNvSpPr/>
          <p:nvPr/>
        </p:nvSpPr>
        <p:spPr>
          <a:xfrm>
            <a:off x="5993741" y="4108786"/>
            <a:ext cx="11571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Add Entity</a:t>
            </a:r>
            <a:endParaRPr lang="en-US" dirty="0"/>
          </a:p>
        </p:txBody>
      </p:sp>
      <p:sp>
        <p:nvSpPr>
          <p:cNvPr id="82" name="Rectangle 81"/>
          <p:cNvSpPr/>
          <p:nvPr/>
        </p:nvSpPr>
        <p:spPr>
          <a:xfrm>
            <a:off x="5990105" y="4548271"/>
            <a:ext cx="11409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Edit Entity</a:t>
            </a:r>
            <a:endParaRPr lang="en-US" dirty="0"/>
          </a:p>
        </p:txBody>
      </p:sp>
      <p:cxnSp>
        <p:nvCxnSpPr>
          <p:cNvPr id="83" name="Straight Connector 82"/>
          <p:cNvCxnSpPr/>
          <p:nvPr/>
        </p:nvCxnSpPr>
        <p:spPr>
          <a:xfrm>
            <a:off x="4982400" y="3801846"/>
            <a:ext cx="21933" cy="5091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4982396" y="4301581"/>
            <a:ext cx="83644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7137" y="1455604"/>
            <a:ext cx="366149" cy="35258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801436" y="3533702"/>
            <a:ext cx="265613" cy="268144"/>
          </a:xfrm>
          <a:prstGeom prst="rect">
            <a:avLst/>
          </a:prstGeom>
          <a:solidFill>
            <a:schemeClr val="bg1"/>
          </a:solidFill>
          <a:ln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5714411" y="4179217"/>
            <a:ext cx="265613" cy="268144"/>
          </a:xfrm>
          <a:prstGeom prst="rect">
            <a:avLst/>
          </a:prstGeom>
          <a:solidFill>
            <a:schemeClr val="bg1"/>
          </a:solidFill>
          <a:ln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5724492" y="4586042"/>
            <a:ext cx="265613" cy="268144"/>
          </a:xfrm>
          <a:prstGeom prst="rect">
            <a:avLst/>
          </a:prstGeom>
          <a:solidFill>
            <a:schemeClr val="bg1"/>
          </a:solidFill>
          <a:ln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/>
          <p:cNvSpPr/>
          <p:nvPr/>
        </p:nvSpPr>
        <p:spPr>
          <a:xfrm>
            <a:off x="337625" y="1167618"/>
            <a:ext cx="7934178" cy="443132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1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12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gning permissions to </a:t>
            </a:r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les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8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4788812"/>
              </p:ext>
            </p:extLst>
          </p:nvPr>
        </p:nvGraphicFramePr>
        <p:xfrm>
          <a:off x="473516" y="1294342"/>
          <a:ext cx="2554070" cy="40792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554070"/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COLLECTION_APPROV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NT_COLLECTION_DESIGNER</a:t>
                      </a:r>
                    </a:p>
                  </a:txBody>
                  <a:tcPr marL="9525" marR="9525" marT="9525" marB="0" anchor="b">
                    <a:solidFill>
                      <a:srgbClr val="00009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COLLECTION_US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_DATA_SUBMITT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_SUBMISSION_APPROV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SUPER_USER_ADMIN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USER_ADMIN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_USER_ADMIN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TECHNICAL_US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_TECHNICAL_USE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_SYSTEM_SUPPORT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cxnSp>
        <p:nvCxnSpPr>
          <p:cNvPr id="40" name="Straight Connector 39"/>
          <p:cNvCxnSpPr>
            <a:endCxn id="61" idx="2"/>
          </p:cNvCxnSpPr>
          <p:nvPr/>
        </p:nvCxnSpPr>
        <p:spPr>
          <a:xfrm>
            <a:off x="5847219" y="2886749"/>
            <a:ext cx="20161" cy="4591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4531891" y="1438860"/>
            <a:ext cx="2533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repare Data Definition</a:t>
            </a:r>
            <a:endParaRPr lang="en-US" dirty="0"/>
          </a:p>
        </p:txBody>
      </p:sp>
      <p:sp>
        <p:nvSpPr>
          <p:cNvPr id="42" name="TextBox 41"/>
          <p:cNvSpPr txBox="1"/>
          <p:nvPr/>
        </p:nvSpPr>
        <p:spPr>
          <a:xfrm>
            <a:off x="5067049" y="2032659"/>
            <a:ext cx="2533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"/>
            <a:r>
              <a:rPr lang="en-US" dirty="0"/>
              <a:t>Manage Entity Group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5923649" y="2618329"/>
            <a:ext cx="17978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Add </a:t>
            </a:r>
            <a:r>
              <a:rPr lang="en-US" dirty="0"/>
              <a:t>Entity Group</a:t>
            </a:r>
          </a:p>
        </p:txBody>
      </p:sp>
      <p:sp>
        <p:nvSpPr>
          <p:cNvPr id="45" name="Rectangle 44"/>
          <p:cNvSpPr/>
          <p:nvPr/>
        </p:nvSpPr>
        <p:spPr>
          <a:xfrm>
            <a:off x="5923649" y="2987661"/>
            <a:ext cx="17816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Edit Entity </a:t>
            </a:r>
            <a:r>
              <a:rPr lang="en-US" dirty="0"/>
              <a:t>Group</a:t>
            </a:r>
          </a:p>
        </p:txBody>
      </p:sp>
      <p:cxnSp>
        <p:nvCxnSpPr>
          <p:cNvPr id="48" name="Straight Connector 47"/>
          <p:cNvCxnSpPr/>
          <p:nvPr/>
        </p:nvCxnSpPr>
        <p:spPr>
          <a:xfrm>
            <a:off x="4419352" y="1717590"/>
            <a:ext cx="30860" cy="19259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4419350" y="2217324"/>
            <a:ext cx="39448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4912308" y="2311389"/>
            <a:ext cx="21933" cy="5091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4912304" y="2811124"/>
            <a:ext cx="83644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7504" y="1493416"/>
            <a:ext cx="293045" cy="293045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1436" y="2080311"/>
            <a:ext cx="293045" cy="293045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0696" y="2663473"/>
            <a:ext cx="293045" cy="293045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20857" y="3052862"/>
            <a:ext cx="293045" cy="293045"/>
          </a:xfrm>
          <a:prstGeom prst="rect">
            <a:avLst/>
          </a:prstGeom>
        </p:spPr>
      </p:pic>
      <p:sp>
        <p:nvSpPr>
          <p:cNvPr id="78" name="TextBox 77"/>
          <p:cNvSpPr txBox="1"/>
          <p:nvPr/>
        </p:nvSpPr>
        <p:spPr>
          <a:xfrm>
            <a:off x="5067049" y="3478857"/>
            <a:ext cx="2533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"/>
            <a:r>
              <a:rPr lang="en-US" dirty="0"/>
              <a:t>Manage </a:t>
            </a:r>
            <a:r>
              <a:rPr lang="en-US" dirty="0" smtClean="0"/>
              <a:t>Entities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10173" y="3526509"/>
            <a:ext cx="293045" cy="293045"/>
          </a:xfrm>
          <a:prstGeom prst="rect">
            <a:avLst/>
          </a:prstGeom>
        </p:spPr>
      </p:pic>
      <p:cxnSp>
        <p:nvCxnSpPr>
          <p:cNvPr id="25" name="Straight Connector 24"/>
          <p:cNvCxnSpPr>
            <a:endCxn id="79" idx="1"/>
          </p:cNvCxnSpPr>
          <p:nvPr/>
        </p:nvCxnSpPr>
        <p:spPr>
          <a:xfrm>
            <a:off x="4429009" y="3673031"/>
            <a:ext cx="381164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>
            <a:endCxn id="86" idx="2"/>
          </p:cNvCxnSpPr>
          <p:nvPr/>
        </p:nvCxnSpPr>
        <p:spPr>
          <a:xfrm>
            <a:off x="5917311" y="4377206"/>
            <a:ext cx="20161" cy="4591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/>
          <p:cNvSpPr/>
          <p:nvPr/>
        </p:nvSpPr>
        <p:spPr>
          <a:xfrm>
            <a:off x="5993741" y="4108786"/>
            <a:ext cx="11571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Add Entity</a:t>
            </a:r>
            <a:endParaRPr lang="en-US" dirty="0"/>
          </a:p>
        </p:txBody>
      </p:sp>
      <p:sp>
        <p:nvSpPr>
          <p:cNvPr id="82" name="Rectangle 81"/>
          <p:cNvSpPr/>
          <p:nvPr/>
        </p:nvSpPr>
        <p:spPr>
          <a:xfrm>
            <a:off x="5993741" y="4478118"/>
            <a:ext cx="11409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Edit Entity</a:t>
            </a:r>
            <a:endParaRPr lang="en-US" dirty="0"/>
          </a:p>
        </p:txBody>
      </p:sp>
      <p:cxnSp>
        <p:nvCxnSpPr>
          <p:cNvPr id="83" name="Straight Connector 82"/>
          <p:cNvCxnSpPr/>
          <p:nvPr/>
        </p:nvCxnSpPr>
        <p:spPr>
          <a:xfrm>
            <a:off x="4982400" y="3801846"/>
            <a:ext cx="21933" cy="5091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4982396" y="4301581"/>
            <a:ext cx="83644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Picture 8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0788" y="4153930"/>
            <a:ext cx="293045" cy="293045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0949" y="4543319"/>
            <a:ext cx="293045" cy="293045"/>
          </a:xfrm>
          <a:prstGeom prst="rect">
            <a:avLst/>
          </a:prstGeom>
        </p:spPr>
      </p:pic>
      <p:sp>
        <p:nvSpPr>
          <p:cNvPr id="87" name="Rectangle 86"/>
          <p:cNvSpPr/>
          <p:nvPr/>
        </p:nvSpPr>
        <p:spPr>
          <a:xfrm>
            <a:off x="337625" y="1167618"/>
            <a:ext cx="7934178" cy="443132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441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13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gning Roles to Users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389548" y="1376854"/>
            <a:ext cx="3281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Current Screen for modifications</a:t>
            </a:r>
            <a:endParaRPr lang="en-US" b="1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297" y="2078746"/>
            <a:ext cx="9496425" cy="24384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8890782" y="2602039"/>
            <a:ext cx="1519310" cy="74607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8623709" y="4653984"/>
            <a:ext cx="317439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rong</a:t>
            </a:r>
            <a:r>
              <a:rPr lang="en-US" dirty="0"/>
              <a:t> </a:t>
            </a:r>
            <a:r>
              <a:rPr lang="en-US" dirty="0" smtClean="0"/>
              <a:t>&amp; should be remov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e need to add entities instead of entity groups. Will be part of release 2.0</a:t>
            </a:r>
          </a:p>
          <a:p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 flipV="1">
            <a:off x="9228406" y="3348110"/>
            <a:ext cx="225083" cy="130587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>
          <a:xfrm>
            <a:off x="5906086" y="2602039"/>
            <a:ext cx="1519310" cy="74607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extBox 60"/>
          <p:cNvSpPr txBox="1"/>
          <p:nvPr/>
        </p:nvSpPr>
        <p:spPr>
          <a:xfrm>
            <a:off x="4691896" y="4653984"/>
            <a:ext cx="317439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pulated from IAM ro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ly logical to display for NCB </a:t>
            </a:r>
            <a:r>
              <a:rPr lang="en-US" dirty="0" smtClean="0"/>
              <a:t>Users as grayed entry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others this should not be displayed</a:t>
            </a:r>
          </a:p>
          <a:p>
            <a:endParaRPr lang="en-US" dirty="0"/>
          </a:p>
        </p:txBody>
      </p:sp>
      <p:cxnSp>
        <p:nvCxnSpPr>
          <p:cNvPr id="14" name="Straight Arrow Connector 13"/>
          <p:cNvCxnSpPr/>
          <p:nvPr/>
        </p:nvCxnSpPr>
        <p:spPr>
          <a:xfrm flipV="1">
            <a:off x="6734163" y="3348110"/>
            <a:ext cx="133537" cy="130587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/>
        </p:nvSpPr>
        <p:spPr>
          <a:xfrm>
            <a:off x="4313348" y="2597369"/>
            <a:ext cx="1519310" cy="74607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/>
          <p:cNvSpPr txBox="1"/>
          <p:nvPr/>
        </p:nvSpPr>
        <p:spPr>
          <a:xfrm>
            <a:off x="1138792" y="4653984"/>
            <a:ext cx="31743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ropdown populated from IAM</a:t>
            </a:r>
          </a:p>
          <a:p>
            <a:endParaRPr lang="en-US" dirty="0"/>
          </a:p>
        </p:txBody>
      </p:sp>
      <p:cxnSp>
        <p:nvCxnSpPr>
          <p:cNvPr id="64" name="Straight Arrow Connector 63"/>
          <p:cNvCxnSpPr/>
          <p:nvPr/>
        </p:nvCxnSpPr>
        <p:spPr>
          <a:xfrm flipV="1">
            <a:off x="3444775" y="3343440"/>
            <a:ext cx="944773" cy="131054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3003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14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le of user admins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097280" y="1294228"/>
            <a:ext cx="2813538" cy="67524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US" dirty="0" smtClean="0"/>
              <a:t>Super user admin</a:t>
            </a:r>
          </a:p>
          <a:p>
            <a:pPr algn="ctr">
              <a:lnSpc>
                <a:spcPct val="150000"/>
              </a:lnSpc>
            </a:pPr>
            <a:r>
              <a:rPr lang="en-US" sz="1400" dirty="0" smtClean="0"/>
              <a:t>[Role: INT_SUPER_USER_ADMIN]</a:t>
            </a:r>
            <a:endParaRPr lang="en-US" sz="1400" dirty="0"/>
          </a:p>
        </p:txBody>
      </p:sp>
      <p:sp>
        <p:nvSpPr>
          <p:cNvPr id="17" name="Rectangle 16"/>
          <p:cNvSpPr/>
          <p:nvPr/>
        </p:nvSpPr>
        <p:spPr>
          <a:xfrm>
            <a:off x="2870982" y="2283297"/>
            <a:ext cx="2813538" cy="67524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US" dirty="0" smtClean="0"/>
              <a:t>ECB user admin</a:t>
            </a:r>
          </a:p>
          <a:p>
            <a:pPr algn="ctr">
              <a:lnSpc>
                <a:spcPct val="150000"/>
              </a:lnSpc>
            </a:pPr>
            <a:r>
              <a:rPr lang="en-US" sz="1400" dirty="0" smtClean="0"/>
              <a:t>[Role: INT_USER_ADMIN]</a:t>
            </a:r>
            <a:endParaRPr lang="en-US" sz="1400" dirty="0"/>
          </a:p>
        </p:txBody>
      </p:sp>
      <p:cxnSp>
        <p:nvCxnSpPr>
          <p:cNvPr id="10" name="Elbow Connector 9"/>
          <p:cNvCxnSpPr>
            <a:endCxn id="17" idx="1"/>
          </p:cNvCxnSpPr>
          <p:nvPr/>
        </p:nvCxnSpPr>
        <p:spPr>
          <a:xfrm rot="16200000" flipH="1">
            <a:off x="2368828" y="2118767"/>
            <a:ext cx="637377" cy="366932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713849" y="3322546"/>
            <a:ext cx="2813538" cy="67524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US" dirty="0" smtClean="0"/>
              <a:t>NCB/NCA user admin</a:t>
            </a:r>
          </a:p>
          <a:p>
            <a:pPr algn="ctr">
              <a:lnSpc>
                <a:spcPct val="150000"/>
              </a:lnSpc>
            </a:pPr>
            <a:r>
              <a:rPr lang="en-US" sz="1400" dirty="0" smtClean="0"/>
              <a:t>[Role: EXT_USER_ADMIN]</a:t>
            </a:r>
            <a:endParaRPr lang="en-US" sz="1400" dirty="0"/>
          </a:p>
        </p:txBody>
      </p:sp>
      <p:cxnSp>
        <p:nvCxnSpPr>
          <p:cNvPr id="19" name="Elbow Connector 18"/>
          <p:cNvCxnSpPr/>
          <p:nvPr/>
        </p:nvCxnSpPr>
        <p:spPr>
          <a:xfrm rot="16200000" flipH="1">
            <a:off x="4109819" y="3056140"/>
            <a:ext cx="771965" cy="436098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6502204" y="2072954"/>
            <a:ext cx="52724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ssigns Specific Roles &amp; Data collections to ECB U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ssigns data collection to NCB/NCA user admi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0" name="Right Arrow 29"/>
          <p:cNvSpPr/>
          <p:nvPr/>
        </p:nvSpPr>
        <p:spPr>
          <a:xfrm>
            <a:off x="5880295" y="2391508"/>
            <a:ext cx="661182" cy="365760"/>
          </a:xfrm>
          <a:prstGeom prst="rightArrow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/>
          <p:cNvSpPr txBox="1"/>
          <p:nvPr/>
        </p:nvSpPr>
        <p:spPr>
          <a:xfrm>
            <a:off x="8317561" y="3351464"/>
            <a:ext cx="32736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ssigns Specific Roles &amp; Data collections to </a:t>
            </a:r>
            <a:r>
              <a:rPr lang="en-US" dirty="0" smtClean="0"/>
              <a:t>NCB/NCA Users</a:t>
            </a:r>
            <a:endParaRPr lang="en-US" dirty="0"/>
          </a:p>
        </p:txBody>
      </p:sp>
      <p:sp>
        <p:nvSpPr>
          <p:cNvPr id="39" name="Right Arrow 38"/>
          <p:cNvSpPr/>
          <p:nvPr/>
        </p:nvSpPr>
        <p:spPr>
          <a:xfrm>
            <a:off x="7650480" y="3533037"/>
            <a:ext cx="661182" cy="365760"/>
          </a:xfrm>
          <a:prstGeom prst="rightArrow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38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50166" y="1209822"/>
            <a:ext cx="9326880" cy="39143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622496" y="2278966"/>
            <a:ext cx="8999806" cy="259190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15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gning Roles to Users by super user admin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3385" y="2380078"/>
            <a:ext cx="2603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dd User Assignment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50167" y="1209822"/>
            <a:ext cx="93268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Role of user performing this action: </a:t>
            </a:r>
            <a:r>
              <a:rPr lang="en-US" dirty="0" smtClean="0"/>
              <a:t>INT_SUPER_USER_ADMIN           </a:t>
            </a:r>
          </a:p>
          <a:p>
            <a:r>
              <a:rPr lang="en-US" dirty="0" smtClean="0">
                <a:solidFill>
                  <a:srgbClr val="0070C0"/>
                </a:solidFill>
              </a:rPr>
              <a:t>Permission required: </a:t>
            </a:r>
            <a:r>
              <a:rPr lang="en-US" dirty="0"/>
              <a:t>AUTH.USER.ADDU</a:t>
            </a:r>
            <a:r>
              <a:rPr lang="en-US" dirty="0" smtClean="0"/>
              <a:t> – Add </a:t>
            </a:r>
            <a:r>
              <a:rPr lang="en-US" dirty="0"/>
              <a:t>User Assignments to data collection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03385" y="2940148"/>
            <a:ext cx="142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id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703385" y="3309480"/>
            <a:ext cx="18991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UNIMBALK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2908496" y="2940148"/>
            <a:ext cx="142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o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2377441" y="3309480"/>
            <a:ext cx="1983544" cy="31778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INT_USER_ADMIN</a:t>
            </a:r>
          </a:p>
        </p:txBody>
      </p:sp>
      <p:sp>
        <p:nvSpPr>
          <p:cNvPr id="13" name="Isosceles Triangle 12"/>
          <p:cNvSpPr/>
          <p:nvPr/>
        </p:nvSpPr>
        <p:spPr>
          <a:xfrm flipV="1">
            <a:off x="4038600" y="3367119"/>
            <a:ext cx="237979" cy="228126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4892040" y="2941934"/>
            <a:ext cx="18534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Data Collection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4793567" y="3311266"/>
            <a:ext cx="1983544" cy="31778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tx1"/>
                </a:solidFill>
              </a:rPr>
              <a:t>ST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" name="Isosceles Triangle 26"/>
          <p:cNvSpPr/>
          <p:nvPr/>
        </p:nvSpPr>
        <p:spPr>
          <a:xfrm flipV="1">
            <a:off x="6454726" y="3368905"/>
            <a:ext cx="237979" cy="228126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lc="http://schemas.openxmlformats.org/drawingml/2006/lockedCanvas" xmlns:a16="http://schemas.microsoft.com/office/drawing/2014/main" xmlns="" id="{7CF94A98-7388-4EC7-BED9-ADBE0C1005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7080" y="4101553"/>
            <a:ext cx="731583" cy="358027"/>
          </a:xfrm>
          <a:prstGeom prst="rect">
            <a:avLst/>
          </a:prstGeom>
          <a:solidFill>
            <a:srgbClr val="0070C0"/>
          </a:solidFill>
          <a:ln w="3175">
            <a:solidFill>
              <a:schemeClr val="tx1"/>
            </a:solidFill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lIns="76200" tIns="38100" rIns="76200" bIns="38100" anchor="ctr"/>
          <a:lstStyle>
            <a:defPPr>
              <a:defRPr lang="en-GB"/>
            </a:defPPr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96804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793608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90412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587216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1984019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380823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777627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174431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ct val="30000"/>
              </a:spcAft>
            </a:pPr>
            <a:r>
              <a:rPr lang="en-AU" alt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Save</a:t>
            </a:r>
            <a:endParaRPr lang="en-AU" altLang="de-DE" sz="900" u="sng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lc="http://schemas.openxmlformats.org/drawingml/2006/lockedCanvas" xmlns:a16="http://schemas.microsoft.com/office/drawing/2014/main" xmlns="" id="{20A663FC-0033-4151-A7F9-72D6F63961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6537" y="4102539"/>
            <a:ext cx="730042" cy="354766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rgbClr val="0070C0"/>
            </a:solidFill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lIns="76200" tIns="38100" rIns="76200" bIns="38100" anchor="ctr"/>
          <a:lstStyle>
            <a:defPPr>
              <a:defRPr lang="en-GB"/>
            </a:defPPr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96804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793608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90412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587216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1984019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380823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777627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174431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ct val="30000"/>
              </a:spcAft>
            </a:pPr>
            <a:r>
              <a:rPr lang="en-AU" altLang="de-DE" sz="1000" dirty="0">
                <a:solidFill>
                  <a:srgbClr val="0070C0"/>
                </a:solidFill>
                <a:latin typeface="Arial" panose="020B0604020202020204" pitchFamily="34" charset="0"/>
              </a:rPr>
              <a:t>Cancel</a:t>
            </a:r>
            <a:endParaRPr lang="en-AU" altLang="de-DE" sz="900" u="sng" dirty="0">
              <a:solidFill>
                <a:srgbClr val="0070C0"/>
              </a:solidFill>
              <a:latin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77111" y="5546959"/>
            <a:ext cx="4101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70C0"/>
                </a:solidFill>
              </a:rPr>
              <a:t>This is functional repres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70C0"/>
                </a:solidFill>
              </a:rPr>
              <a:t>UX team to bring usability aspects.</a:t>
            </a:r>
          </a:p>
        </p:txBody>
      </p:sp>
    </p:spTree>
    <p:extLst>
      <p:ext uri="{BB962C8B-B14F-4D97-AF65-F5344CB8AC3E}">
        <p14:creationId xmlns:p14="http://schemas.microsoft.com/office/powerpoint/2010/main" val="3181733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50166" y="1209822"/>
            <a:ext cx="9326880" cy="39143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622496" y="2278966"/>
            <a:ext cx="8999806" cy="259190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16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gning Roles to Users by ECB user admin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3385" y="2380078"/>
            <a:ext cx="2603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dd User Assignment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50167" y="1209822"/>
            <a:ext cx="93268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Role of user performing this action: </a:t>
            </a:r>
            <a:r>
              <a:rPr lang="en-US" dirty="0"/>
              <a:t>INT_USER_ADMIN           </a:t>
            </a:r>
            <a:endParaRPr lang="en-US" dirty="0" smtClean="0"/>
          </a:p>
          <a:p>
            <a:r>
              <a:rPr lang="en-US" dirty="0" smtClean="0">
                <a:solidFill>
                  <a:srgbClr val="0070C0"/>
                </a:solidFill>
              </a:rPr>
              <a:t>Permission required: </a:t>
            </a:r>
            <a:r>
              <a:rPr lang="en-US" dirty="0"/>
              <a:t>AUTH.USER.ADDU</a:t>
            </a:r>
            <a:r>
              <a:rPr lang="en-US" dirty="0" smtClean="0"/>
              <a:t> – Add </a:t>
            </a:r>
            <a:r>
              <a:rPr lang="en-US" dirty="0"/>
              <a:t>User Assignments to data collection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03385" y="2940148"/>
            <a:ext cx="142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id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703385" y="3309480"/>
            <a:ext cx="18991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UHUBERH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2908496" y="2940148"/>
            <a:ext cx="142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o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2026920" y="3353444"/>
            <a:ext cx="2446606" cy="33454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INT_COLLECTION_DESIGNER</a:t>
            </a:r>
          </a:p>
        </p:txBody>
      </p:sp>
      <p:sp>
        <p:nvSpPr>
          <p:cNvPr id="13" name="Isosceles Triangle 12"/>
          <p:cNvSpPr/>
          <p:nvPr/>
        </p:nvSpPr>
        <p:spPr>
          <a:xfrm flipV="1">
            <a:off x="4204482" y="3406652"/>
            <a:ext cx="237979" cy="228126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4892040" y="2941934"/>
            <a:ext cx="18534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Data Collection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4805289" y="3324516"/>
            <a:ext cx="1983544" cy="36754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tx1"/>
                </a:solidFill>
              </a:rPr>
              <a:t>ST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" name="Isosceles Triangle 26"/>
          <p:cNvSpPr/>
          <p:nvPr/>
        </p:nvSpPr>
        <p:spPr>
          <a:xfrm flipV="1">
            <a:off x="6466448" y="3382155"/>
            <a:ext cx="237979" cy="263852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lc="http://schemas.openxmlformats.org/drawingml/2006/lockedCanvas" xmlns:a16="http://schemas.microsoft.com/office/drawing/2014/main" xmlns="" id="{7CF94A98-7388-4EC7-BED9-ADBE0C1005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7080" y="4101553"/>
            <a:ext cx="731583" cy="358027"/>
          </a:xfrm>
          <a:prstGeom prst="rect">
            <a:avLst/>
          </a:prstGeom>
          <a:solidFill>
            <a:srgbClr val="0070C0"/>
          </a:solidFill>
          <a:ln w="3175">
            <a:solidFill>
              <a:schemeClr val="tx1"/>
            </a:solidFill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lIns="76200" tIns="38100" rIns="76200" bIns="38100" anchor="ctr"/>
          <a:lstStyle>
            <a:defPPr>
              <a:defRPr lang="en-GB"/>
            </a:defPPr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96804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793608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90412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587216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1984019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380823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777627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174431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ct val="30000"/>
              </a:spcAft>
            </a:pPr>
            <a:r>
              <a:rPr lang="en-AU" alt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Save</a:t>
            </a:r>
            <a:endParaRPr lang="en-AU" altLang="de-DE" sz="900" u="sng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lc="http://schemas.openxmlformats.org/drawingml/2006/lockedCanvas" xmlns:a16="http://schemas.microsoft.com/office/drawing/2014/main" xmlns="" id="{20A663FC-0033-4151-A7F9-72D6F63961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6537" y="4102539"/>
            <a:ext cx="730042" cy="354766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rgbClr val="0070C0"/>
            </a:solidFill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lIns="76200" tIns="38100" rIns="76200" bIns="38100" anchor="ctr"/>
          <a:lstStyle>
            <a:defPPr>
              <a:defRPr lang="en-GB"/>
            </a:defPPr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96804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793608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90412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587216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1984019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380823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777627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174431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ct val="30000"/>
              </a:spcAft>
            </a:pPr>
            <a:r>
              <a:rPr lang="en-AU" altLang="de-DE" sz="1000" dirty="0">
                <a:solidFill>
                  <a:srgbClr val="0070C0"/>
                </a:solidFill>
                <a:latin typeface="Arial" panose="020B0604020202020204" pitchFamily="34" charset="0"/>
              </a:rPr>
              <a:t>Cancel</a:t>
            </a:r>
            <a:endParaRPr lang="en-AU" altLang="de-DE" sz="900" u="sng" dirty="0">
              <a:solidFill>
                <a:srgbClr val="0070C0"/>
              </a:solidFill>
              <a:latin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777111" y="5546959"/>
            <a:ext cx="4101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70C0"/>
                </a:solidFill>
              </a:rPr>
              <a:t>This is functional repres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70C0"/>
                </a:solidFill>
              </a:rPr>
              <a:t>UX team to bring usability aspects.</a:t>
            </a:r>
          </a:p>
        </p:txBody>
      </p:sp>
    </p:spTree>
    <p:extLst>
      <p:ext uri="{BB962C8B-B14F-4D97-AF65-F5344CB8AC3E}">
        <p14:creationId xmlns:p14="http://schemas.microsoft.com/office/powerpoint/2010/main" val="3308780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50166" y="1209822"/>
            <a:ext cx="9326880" cy="39143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622496" y="2278966"/>
            <a:ext cx="8999806" cy="259190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17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gning Roles to Users by ECB user admin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3385" y="2380078"/>
            <a:ext cx="2603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dd User Assignment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50167" y="1209822"/>
            <a:ext cx="93268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Role of user performing this action: </a:t>
            </a:r>
            <a:r>
              <a:rPr lang="en-US" dirty="0"/>
              <a:t>INT_USER_ADMIN           </a:t>
            </a:r>
            <a:endParaRPr lang="en-US" dirty="0" smtClean="0"/>
          </a:p>
          <a:p>
            <a:r>
              <a:rPr lang="en-US" dirty="0" smtClean="0">
                <a:solidFill>
                  <a:srgbClr val="0070C0"/>
                </a:solidFill>
              </a:rPr>
              <a:t>Permission required: </a:t>
            </a:r>
            <a:r>
              <a:rPr lang="en-US" dirty="0"/>
              <a:t>AUTH.USER.ADDU</a:t>
            </a:r>
            <a:r>
              <a:rPr lang="en-US" dirty="0" smtClean="0"/>
              <a:t> – Add </a:t>
            </a:r>
            <a:r>
              <a:rPr lang="en-US" dirty="0"/>
              <a:t>User Assignments to data collection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03385" y="2940148"/>
            <a:ext cx="142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serid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703385" y="3309480"/>
            <a:ext cx="18991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EKERIM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4613032" y="2940148"/>
            <a:ext cx="142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o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731456" y="3371084"/>
            <a:ext cx="2446606" cy="33454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EXT_USER_ADMIN</a:t>
            </a:r>
          </a:p>
        </p:txBody>
      </p:sp>
      <p:sp>
        <p:nvSpPr>
          <p:cNvPr id="13" name="Isosceles Triangle 12"/>
          <p:cNvSpPr/>
          <p:nvPr/>
        </p:nvSpPr>
        <p:spPr>
          <a:xfrm flipV="1">
            <a:off x="5909018" y="3424292"/>
            <a:ext cx="237979" cy="228126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6596576" y="2940148"/>
            <a:ext cx="18534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Data Collection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6509825" y="3342156"/>
            <a:ext cx="1983544" cy="36754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tx1"/>
                </a:solidFill>
              </a:rPr>
              <a:t>ST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" name="Isosceles Triangle 26"/>
          <p:cNvSpPr/>
          <p:nvPr/>
        </p:nvSpPr>
        <p:spPr>
          <a:xfrm flipV="1">
            <a:off x="8170984" y="3399795"/>
            <a:ext cx="237979" cy="263852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lc="http://schemas.openxmlformats.org/drawingml/2006/lockedCanvas" xmlns:a16="http://schemas.microsoft.com/office/drawing/2014/main" xmlns="" id="{7CF94A98-7388-4EC7-BED9-ADBE0C1005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7080" y="4101553"/>
            <a:ext cx="731583" cy="358027"/>
          </a:xfrm>
          <a:prstGeom prst="rect">
            <a:avLst/>
          </a:prstGeom>
          <a:solidFill>
            <a:srgbClr val="0070C0"/>
          </a:solidFill>
          <a:ln w="3175">
            <a:solidFill>
              <a:schemeClr val="tx1"/>
            </a:solidFill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lIns="76200" tIns="38100" rIns="76200" bIns="38100" anchor="ctr"/>
          <a:lstStyle>
            <a:defPPr>
              <a:defRPr lang="en-GB"/>
            </a:defPPr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96804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793608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90412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587216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1984019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380823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777627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174431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ct val="30000"/>
              </a:spcAft>
            </a:pPr>
            <a:r>
              <a:rPr lang="en-AU" alt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Save</a:t>
            </a:r>
            <a:endParaRPr lang="en-AU" altLang="de-DE" sz="900" u="sng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lc="http://schemas.openxmlformats.org/drawingml/2006/lockedCanvas" xmlns:a16="http://schemas.microsoft.com/office/drawing/2014/main" xmlns="" id="{20A663FC-0033-4151-A7F9-72D6F63961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6537" y="4102539"/>
            <a:ext cx="730042" cy="354766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rgbClr val="0070C0"/>
            </a:solidFill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lIns="76200" tIns="38100" rIns="76200" bIns="38100" anchor="ctr"/>
          <a:lstStyle>
            <a:defPPr>
              <a:defRPr lang="en-GB"/>
            </a:defPPr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96804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793608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90412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587216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1984019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380823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777627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174431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ct val="30000"/>
              </a:spcAft>
            </a:pPr>
            <a:r>
              <a:rPr lang="en-AU" altLang="de-DE" sz="1000" dirty="0">
                <a:solidFill>
                  <a:srgbClr val="0070C0"/>
                </a:solidFill>
                <a:latin typeface="Arial" panose="020B0604020202020204" pitchFamily="34" charset="0"/>
              </a:rPr>
              <a:t>Cancel</a:t>
            </a:r>
            <a:endParaRPr lang="en-AU" altLang="de-DE" sz="900" u="sng" dirty="0">
              <a:solidFill>
                <a:srgbClr val="0070C0"/>
              </a:solidFill>
              <a:latin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112498" y="2940148"/>
            <a:ext cx="142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untry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2071469" y="3340370"/>
            <a:ext cx="142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Germany</a:t>
            </a:r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6777111" y="5546959"/>
            <a:ext cx="4101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70C0"/>
                </a:solidFill>
              </a:rPr>
              <a:t>This is functional repres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70C0"/>
                </a:solidFill>
              </a:rPr>
              <a:t>UX team to bring usability aspects.</a:t>
            </a:r>
          </a:p>
        </p:txBody>
      </p:sp>
    </p:spTree>
    <p:extLst>
      <p:ext uri="{BB962C8B-B14F-4D97-AF65-F5344CB8AC3E}">
        <p14:creationId xmlns:p14="http://schemas.microsoft.com/office/powerpoint/2010/main" val="3677430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50166" y="1209822"/>
            <a:ext cx="9326880" cy="39143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622496" y="2278966"/>
            <a:ext cx="8999806" cy="259190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18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gning Roles to Users by ECB user admin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3385" y="2380078"/>
            <a:ext cx="2603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dd User Assignment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50167" y="1209822"/>
            <a:ext cx="93268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Role of user performing this action: </a:t>
            </a:r>
            <a:r>
              <a:rPr lang="en-US" dirty="0"/>
              <a:t>INT_USER_ADMIN           </a:t>
            </a:r>
            <a:endParaRPr lang="en-US" dirty="0" smtClean="0"/>
          </a:p>
          <a:p>
            <a:r>
              <a:rPr lang="en-US" dirty="0" smtClean="0">
                <a:solidFill>
                  <a:srgbClr val="0070C0"/>
                </a:solidFill>
              </a:rPr>
              <a:t>Permission required: </a:t>
            </a:r>
            <a:r>
              <a:rPr lang="en-US" dirty="0"/>
              <a:t>AUTH.USER.ADDU</a:t>
            </a:r>
            <a:r>
              <a:rPr lang="en-US" dirty="0" smtClean="0"/>
              <a:t> – Add </a:t>
            </a:r>
            <a:r>
              <a:rPr lang="en-US" dirty="0"/>
              <a:t>User Assignments to data collection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03385" y="2940148"/>
            <a:ext cx="142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id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703385" y="3309480"/>
            <a:ext cx="18991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ECARSTER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4613032" y="2940148"/>
            <a:ext cx="142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o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731456" y="3371084"/>
            <a:ext cx="2446606" cy="33454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EXT_DATA_SUBMITTER</a:t>
            </a:r>
          </a:p>
        </p:txBody>
      </p:sp>
      <p:sp>
        <p:nvSpPr>
          <p:cNvPr id="13" name="Isosceles Triangle 12"/>
          <p:cNvSpPr/>
          <p:nvPr/>
        </p:nvSpPr>
        <p:spPr>
          <a:xfrm flipV="1">
            <a:off x="5909018" y="3424292"/>
            <a:ext cx="237979" cy="228126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6596576" y="2940148"/>
            <a:ext cx="18534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Data Collection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6509825" y="3342156"/>
            <a:ext cx="1983544" cy="36754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tx1"/>
                </a:solidFill>
              </a:rPr>
              <a:t>ST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" name="Isosceles Triangle 26"/>
          <p:cNvSpPr/>
          <p:nvPr/>
        </p:nvSpPr>
        <p:spPr>
          <a:xfrm flipV="1">
            <a:off x="8170984" y="3399795"/>
            <a:ext cx="237979" cy="263852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lc="http://schemas.openxmlformats.org/drawingml/2006/lockedCanvas" xmlns:a16="http://schemas.microsoft.com/office/drawing/2014/main" xmlns="" id="{7CF94A98-7388-4EC7-BED9-ADBE0C1005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7080" y="4101553"/>
            <a:ext cx="731583" cy="358027"/>
          </a:xfrm>
          <a:prstGeom prst="rect">
            <a:avLst/>
          </a:prstGeom>
          <a:solidFill>
            <a:srgbClr val="0070C0"/>
          </a:solidFill>
          <a:ln w="3175">
            <a:solidFill>
              <a:schemeClr val="tx1"/>
            </a:solidFill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lIns="76200" tIns="38100" rIns="76200" bIns="38100" anchor="ctr"/>
          <a:lstStyle>
            <a:defPPr>
              <a:defRPr lang="en-GB"/>
            </a:defPPr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96804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793608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90412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587216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1984019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380823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777627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174431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ct val="30000"/>
              </a:spcAft>
            </a:pPr>
            <a:r>
              <a:rPr lang="en-AU" alt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Save</a:t>
            </a:r>
            <a:endParaRPr lang="en-AU" altLang="de-DE" sz="900" u="sng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lc="http://schemas.openxmlformats.org/drawingml/2006/lockedCanvas" xmlns:a16="http://schemas.microsoft.com/office/drawing/2014/main" xmlns="" id="{20A663FC-0033-4151-A7F9-72D6F63961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6537" y="4102539"/>
            <a:ext cx="730042" cy="354766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rgbClr val="0070C0"/>
            </a:solidFill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lIns="76200" tIns="38100" rIns="76200" bIns="38100" anchor="ctr"/>
          <a:lstStyle>
            <a:defPPr>
              <a:defRPr lang="en-GB"/>
            </a:defPPr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96804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793608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90412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587216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1984019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380823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777627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174431" algn="l" defTabSz="793608" rtl="0" eaLnBrk="1" latinLnBrk="0" hangingPunct="1">
              <a:defRPr sz="1215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ct val="30000"/>
              </a:spcAft>
            </a:pPr>
            <a:r>
              <a:rPr lang="en-AU" altLang="de-DE" sz="1000" dirty="0">
                <a:solidFill>
                  <a:srgbClr val="0070C0"/>
                </a:solidFill>
                <a:latin typeface="Arial" panose="020B0604020202020204" pitchFamily="34" charset="0"/>
              </a:rPr>
              <a:t>Cancel</a:t>
            </a:r>
            <a:endParaRPr lang="en-AU" altLang="de-DE" sz="900" u="sng" dirty="0">
              <a:solidFill>
                <a:srgbClr val="0070C0"/>
              </a:solidFill>
              <a:latin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112498" y="2940148"/>
            <a:ext cx="142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untry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2071469" y="3340370"/>
            <a:ext cx="142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Germany</a:t>
            </a:r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6777111" y="5546959"/>
            <a:ext cx="4101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70C0"/>
                </a:solidFill>
              </a:rPr>
              <a:t>This is functional repres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70C0"/>
                </a:solidFill>
              </a:rPr>
              <a:t>UX team to bring usability aspects.</a:t>
            </a:r>
          </a:p>
        </p:txBody>
      </p:sp>
    </p:spTree>
    <p:extLst>
      <p:ext uri="{BB962C8B-B14F-4D97-AF65-F5344CB8AC3E}">
        <p14:creationId xmlns:p14="http://schemas.microsoft.com/office/powerpoint/2010/main" val="1670435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2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to identify ECB user, NCB/NCA user &amp; External users for CASPER?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1661414"/>
              </p:ext>
            </p:extLst>
          </p:nvPr>
        </p:nvGraphicFramePr>
        <p:xfrm>
          <a:off x="664106" y="1480589"/>
          <a:ext cx="9872596" cy="2296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8756"/>
                <a:gridCol w="786384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User Typ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ow to identify from IAM shared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user</a:t>
                      </a:r>
                      <a:r>
                        <a:rPr lang="en-US" baseline="0" dirty="0" smtClean="0"/>
                        <a:t> profil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External Us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/>
                        <a:t>Employee Type != “</a:t>
                      </a:r>
                      <a:r>
                        <a:rPr lang="en-US" baseline="0" dirty="0" smtClean="0"/>
                        <a:t>ESCB”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NCB/NCA</a:t>
                      </a:r>
                      <a:r>
                        <a:rPr lang="en-US" baseline="0" dirty="0" smtClean="0"/>
                        <a:t> Us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/>
                        <a:t>Employee Type = “</a:t>
                      </a:r>
                      <a:r>
                        <a:rPr lang="en-US" baseline="0" dirty="0" smtClean="0"/>
                        <a:t>ESCB”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aseline="0" dirty="0" smtClean="0"/>
                        <a:t>Country != “EU”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ECB Us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/>
                        <a:t>Employee Type = “</a:t>
                      </a:r>
                      <a:r>
                        <a:rPr lang="en-US" baseline="0" dirty="0" smtClean="0"/>
                        <a:t>ESCB”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aseline="0" dirty="0" smtClean="0"/>
                        <a:t>Country = “EU”</a:t>
                      </a:r>
                      <a:endParaRPr lang="en-US" dirty="0" smtClean="0"/>
                    </a:p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8523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235974" y="914701"/>
            <a:ext cx="1136987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2000" dirty="0" smtClean="0"/>
              <a:t>There are 11 roles defined in CASP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2000" dirty="0" smtClean="0"/>
              <a:t>Each user can have one or more roles to perform in CASPE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2000" dirty="0" smtClean="0"/>
              <a:t>These roles are assigned via IAM as CASPER specific roles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3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ous roles in CASPER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6975792"/>
              </p:ext>
            </p:extLst>
          </p:nvPr>
        </p:nvGraphicFramePr>
        <p:xfrm>
          <a:off x="1587499" y="2257865"/>
          <a:ext cx="7528365" cy="304038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3265826"/>
                <a:gridCol w="4262539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Rol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Meaning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T_COLLECTION_APPROV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CB Data Administrato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T_COLLECTION_DESIGN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CB Data Exper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T_COLLECTION_US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CB Data Service Exper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XT_DATA_SUBMITT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NCB/NCA Data Submitt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XT_SUBMISSION_APPROV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NCB/NCA Manag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T_SUPER_USER_ADMI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CB Super User Admi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T_USER_ADMI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CB User Administrato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XT_USER_ADMI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NCB/NCA User Administrato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T_TECHNICAL_US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Technical User for ECB integration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XT_TECHNICAL_US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Technical User for NCB/NCA integration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NT_SYSTEM_SUPPOR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ECB System Support team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4939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235974" y="914701"/>
            <a:ext cx="601008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1600" dirty="0" smtClean="0"/>
              <a:t>When any user is assigned Role, it is assigned a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altLang="en-US" sz="1600" dirty="0" smtClean="0"/>
              <a:t>IAM user role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altLang="en-US" sz="1600" dirty="0" smtClean="0"/>
              <a:t>Optionally for a data collection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altLang="en-US" sz="1600" dirty="0" smtClean="0"/>
              <a:t>Optionally for a country (For NCBs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altLang="en-US" sz="1600" dirty="0"/>
              <a:t>Optionally </a:t>
            </a:r>
            <a:r>
              <a:rPr lang="en-US" altLang="en-US" sz="1600" dirty="0" smtClean="0"/>
              <a:t>for a entity (for external submitters)  (Release 2.0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en-US" altLang="en-US" sz="1600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4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CASPER user gets roles assigned in CASPER?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6932996"/>
              </p:ext>
            </p:extLst>
          </p:nvPr>
        </p:nvGraphicFramePr>
        <p:xfrm>
          <a:off x="544474" y="2299591"/>
          <a:ext cx="10752870" cy="391738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4618369"/>
                <a:gridCol w="858129"/>
                <a:gridCol w="2672862"/>
                <a:gridCol w="787791"/>
                <a:gridCol w="900332"/>
                <a:gridCol w="915387"/>
              </a:tblGrid>
              <a:tr h="16519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User Exampl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Userid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IAM User Role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ountry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Data Collection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ntity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</a:tr>
              <a:tr h="16519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ECB user works as Data Administrato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EUAAAA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   </a:t>
                      </a:r>
                      <a:r>
                        <a:rPr lang="en-US" sz="1600" u="none" strike="noStrike" dirty="0" smtClean="0">
                          <a:effectLst/>
                        </a:rPr>
                        <a:t>INT_COLLECTION_APPROV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</a:tr>
              <a:tr h="75396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 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u="none" strike="noStrike">
                          <a:effectLst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u="none" strike="noStrike" dirty="0">
                          <a:effectLst/>
                        </a:rPr>
                        <a:t> 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u="none" strike="noStrike">
                          <a:effectLst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 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16519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ECB </a:t>
                      </a:r>
                      <a:r>
                        <a:rPr lang="en-US" sz="1600" u="none" strike="noStrike" dirty="0" smtClean="0">
                          <a:effectLst/>
                        </a:rPr>
                        <a:t>user </a:t>
                      </a:r>
                      <a:r>
                        <a:rPr lang="en-US" sz="1600" u="none" strike="noStrike" dirty="0">
                          <a:effectLst/>
                        </a:rPr>
                        <a:t>works as  Data Expert for </a:t>
                      </a:r>
                      <a:r>
                        <a:rPr lang="en-US" sz="1600" u="none" strike="noStrike" dirty="0" smtClean="0">
                          <a:effectLst/>
                        </a:rPr>
                        <a:t>ST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EUBBBB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  </a:t>
                      </a:r>
                      <a:r>
                        <a:rPr lang="en-US" sz="1600" u="none" strike="noStrike" dirty="0" smtClean="0">
                          <a:effectLst/>
                        </a:rPr>
                        <a:t>INT_COLLECTION_DESIGN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</a:rPr>
                        <a:t>ST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</a:tr>
              <a:tr h="16519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ame ECB </a:t>
                      </a:r>
                      <a:r>
                        <a:rPr lang="en-US" sz="1600" u="none" strike="noStrike" dirty="0" smtClean="0">
                          <a:effectLst/>
                        </a:rPr>
                        <a:t>user </a:t>
                      </a:r>
                      <a:r>
                        <a:rPr lang="en-US" sz="1600" u="none" strike="noStrike" dirty="0">
                          <a:effectLst/>
                        </a:rPr>
                        <a:t>works as Data Service Expert for STRESS TES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EUBBBB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   </a:t>
                      </a:r>
                      <a:r>
                        <a:rPr lang="en-US" sz="1600" u="none" strike="noStrike" dirty="0" smtClean="0">
                          <a:effectLst/>
                        </a:rPr>
                        <a:t>INT_COLLECTION_US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EBA-S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</a:tr>
              <a:tr h="153634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 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u="none" strike="noStrike">
                          <a:effectLst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u="none" strike="noStrike" dirty="0">
                          <a:effectLst/>
                        </a:rPr>
                        <a:t> 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u="none" strike="noStrike">
                          <a:effectLst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 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165197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u="none" strike="noStrike">
                          <a:effectLst/>
                        </a:rPr>
                        <a:t>NCB User from Deutsche Bundesbank</a:t>
                      </a:r>
                      <a:endParaRPr lang="de-DE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EUCCCC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   </a:t>
                      </a:r>
                      <a:r>
                        <a:rPr lang="en-US" sz="1600" u="none" strike="noStrike" dirty="0" smtClean="0">
                          <a:effectLst/>
                        </a:rPr>
                        <a:t>EXT_DATA_SUBMITT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Germany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</a:rPr>
                        <a:t>ST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</a:tr>
              <a:tr h="165197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u="none" strike="noStrike">
                          <a:effectLst/>
                        </a:rPr>
                        <a:t>NCB User from Deutsche Bundesbank</a:t>
                      </a:r>
                      <a:endParaRPr lang="de-DE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EUCCCC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   </a:t>
                      </a:r>
                      <a:r>
                        <a:rPr lang="en-US" sz="1600" u="none" strike="noStrike" dirty="0" smtClean="0">
                          <a:effectLst/>
                        </a:rPr>
                        <a:t>EXT_DATA_SUBMITT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Germany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EBA-S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</a:tr>
              <a:tr h="153634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 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u="none" strike="noStrike">
                          <a:effectLst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u="none" strike="noStrike" dirty="0">
                          <a:effectLst/>
                        </a:rPr>
                        <a:t> 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u="none" strike="noStrike">
                          <a:effectLst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 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16519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KPMG user responsible for submission on behalf of Deutsche Bank for </a:t>
                      </a:r>
                      <a:r>
                        <a:rPr lang="en-US" sz="1600" u="none" strike="noStrike" dirty="0" smtClean="0">
                          <a:effectLst/>
                        </a:rPr>
                        <a:t>ST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EUDDDD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</a:rPr>
                        <a:t>EXT_DATA_SUBMITT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</a:rPr>
                        <a:t>ST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AS5845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</a:tr>
              <a:tr h="16519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KPMG user responsible for submission on behalf of </a:t>
                      </a:r>
                      <a:r>
                        <a:rPr lang="en-US" sz="1600" u="none" strike="noStrike" dirty="0" err="1">
                          <a:effectLst/>
                        </a:rPr>
                        <a:t>CommerzBank</a:t>
                      </a:r>
                      <a:r>
                        <a:rPr lang="en-US" sz="1600" u="none" strike="noStrike" dirty="0">
                          <a:effectLst/>
                        </a:rPr>
                        <a:t> for </a:t>
                      </a:r>
                      <a:r>
                        <a:rPr lang="en-US" sz="1600" u="none" strike="noStrike" dirty="0" smtClean="0">
                          <a:effectLst/>
                        </a:rPr>
                        <a:t>ST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EUDDDD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</a:rPr>
                        <a:t>EXT_DATA_SUBMITT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</a:rPr>
                        <a:t>ST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AS6762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</a:tr>
              <a:tr h="153634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 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u="none" strike="noStrike">
                          <a:effectLst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u="none" strike="noStrike" dirty="0">
                          <a:effectLst/>
                        </a:rPr>
                        <a:t> 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u="none" strike="noStrike" dirty="0">
                          <a:effectLst/>
                        </a:rPr>
                        <a:t> 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 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16519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Deutsche Bank user responsible for submission for </a:t>
                      </a:r>
                      <a:r>
                        <a:rPr lang="en-US" sz="1600" u="none" strike="noStrike" dirty="0" smtClean="0">
                          <a:effectLst/>
                        </a:rPr>
                        <a:t>ST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EUEEE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  </a:t>
                      </a:r>
                      <a:r>
                        <a:rPr lang="en-US" sz="1600" u="none" strike="noStrike" dirty="0" smtClean="0">
                          <a:effectLst/>
                        </a:rPr>
                        <a:t>EXT_DATA_SUBMITT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</a:rPr>
                        <a:t>ST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CAS5845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60" marR="8260" marT="8260" marB="0" anchor="b"/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6096000" y="1015494"/>
            <a:ext cx="52472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altLang="en-US" sz="1600" dirty="0" smtClean="0"/>
              <a:t>Due to this there will be several entries in User to Role assignment screen as one user can play several roles at a time</a:t>
            </a:r>
          </a:p>
        </p:txBody>
      </p:sp>
      <p:sp>
        <p:nvSpPr>
          <p:cNvPr id="4" name="Rectangle 3"/>
          <p:cNvSpPr/>
          <p:nvPr/>
        </p:nvSpPr>
        <p:spPr>
          <a:xfrm>
            <a:off x="235974" y="4733165"/>
            <a:ext cx="11257331" cy="1616836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 rot="16200000">
            <a:off x="11016194" y="5356917"/>
            <a:ext cx="12498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elease 2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55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5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permissions will be linked to specific CASPER rol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8293" y="1897534"/>
            <a:ext cx="7809653" cy="455410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3504028" y="2367598"/>
            <a:ext cx="4009292" cy="67525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6018801" y="2355413"/>
            <a:ext cx="1856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Level 1 Activity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994938" y="2888104"/>
            <a:ext cx="1578255" cy="343798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2021401" y="5963109"/>
            <a:ext cx="1856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Level 2 Activity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638348" y="3055033"/>
            <a:ext cx="5923835" cy="328324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692352" y="3310152"/>
            <a:ext cx="1856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Level 3 Activity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216603" y="4067974"/>
            <a:ext cx="1842529" cy="693179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Change status from A to B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323695" y="4018225"/>
            <a:ext cx="1856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Level 4 Activity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35974" y="914701"/>
            <a:ext cx="1136987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2000" dirty="0" smtClean="0"/>
              <a:t>User will be performing specific task in CASPER only if he/or she is having permissions to do s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2000" dirty="0" smtClean="0"/>
              <a:t>These tasks can be controlled at 4 levels (explanation next page)</a:t>
            </a:r>
          </a:p>
        </p:txBody>
      </p:sp>
    </p:spTree>
    <p:extLst>
      <p:ext uri="{BB962C8B-B14F-4D97-AF65-F5344CB8AC3E}">
        <p14:creationId xmlns:p14="http://schemas.microsoft.com/office/powerpoint/2010/main" val="3249248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235974" y="914701"/>
            <a:ext cx="11369871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dirty="0" smtClean="0"/>
              <a:t>These tasks can be controlled at 4 levels e.g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b="1" dirty="0"/>
              <a:t>Level 1 Permiss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en-US" dirty="0"/>
              <a:t>NCB user cannot define data dictionary, so in main navigation Dictionaries do not appear</a:t>
            </a:r>
          </a:p>
          <a:p>
            <a:endParaRPr lang="en-US" alt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b="1" dirty="0"/>
              <a:t>Level 2 </a:t>
            </a:r>
            <a:r>
              <a:rPr lang="en-US" altLang="en-US" b="1" dirty="0" smtClean="0"/>
              <a:t>Permission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altLang="en-US" dirty="0" smtClean="0"/>
              <a:t>DATA Expert &amp; Data Service expert both can see submissions related screens, but only data expert can only “trigger revalidations”.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altLang="en-US" dirty="0" smtClean="0"/>
              <a:t>In this case left side bar navigation will not have entry for “Trigger revalidation” for data expert (assuming this is secondary navigation item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en-US" alt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b="1" dirty="0"/>
              <a:t>Level 3 </a:t>
            </a:r>
            <a:r>
              <a:rPr lang="en-US" altLang="en-US" b="1" dirty="0" smtClean="0"/>
              <a:t>Permission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altLang="en-US" dirty="0" smtClean="0"/>
              <a:t>Based on Level 1 &amp; L2 permissions (optionally), screen will appear to perform specific task for user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altLang="en-US" dirty="0" smtClean="0"/>
              <a:t>Now screen will have various actions like Add, Edit, Delete etc. These are controlled by Level 3 permissions.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altLang="en-US" dirty="0" smtClean="0"/>
              <a:t>Screen is rendered according to permission at particular action button will not be visible if there is no permission to do so.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en-US" alt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b="1" dirty="0"/>
              <a:t>Level 4 Permission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altLang="en-US" dirty="0" smtClean="0"/>
              <a:t>Specific changes within the level3 action can be controlled by Level 4 permissions. Those will be in </a:t>
            </a:r>
            <a:r>
              <a:rPr lang="en-US" altLang="en-US" dirty="0" err="1" smtClean="0"/>
              <a:t>extream</a:t>
            </a:r>
            <a:r>
              <a:rPr lang="en-US" altLang="en-US" dirty="0" smtClean="0"/>
              <a:t> case. E.g. Any user can change status A to Status B, but only specific user can change status A directly to Status Z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6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permissions will be linked to specific CASPER role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3995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235974" y="914701"/>
            <a:ext cx="1136987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dirty="0" smtClean="0"/>
              <a:t>Permissions mainly decides “what &amp; how”. Further restrictions defines “For Whom”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7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permissions &amp; country/entity restrictions works together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836320" y="1806171"/>
            <a:ext cx="1569757" cy="9367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ndividual Permissions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333525" y="1797872"/>
            <a:ext cx="1569757" cy="936769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ata Collection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728839" y="2094576"/>
            <a:ext cx="2819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+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15313" y="2094576"/>
            <a:ext cx="10283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ECB User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836320" y="3120692"/>
            <a:ext cx="1569757" cy="9367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ndividual Permissions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5333525" y="3112393"/>
            <a:ext cx="1569757" cy="9367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Collection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830730" y="3112392"/>
            <a:ext cx="1569757" cy="9367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untry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728839" y="3409097"/>
            <a:ext cx="2819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+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226044" y="3409097"/>
            <a:ext cx="2819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+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15313" y="3409097"/>
            <a:ext cx="15632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NCB/NCA User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2836320" y="4448542"/>
            <a:ext cx="1569757" cy="9367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ndividual Permissions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5333525" y="4440243"/>
            <a:ext cx="1569757" cy="9367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Collection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0327933" y="4407931"/>
            <a:ext cx="1569757" cy="9367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tity</a:t>
            </a:r>
          </a:p>
        </p:txBody>
      </p:sp>
      <p:sp>
        <p:nvSpPr>
          <p:cNvPr id="30" name="Rectangle 29"/>
          <p:cNvSpPr/>
          <p:nvPr/>
        </p:nvSpPr>
        <p:spPr>
          <a:xfrm>
            <a:off x="4728839" y="4736947"/>
            <a:ext cx="2819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+</a:t>
            </a:r>
          </a:p>
        </p:txBody>
      </p:sp>
      <p:sp>
        <p:nvSpPr>
          <p:cNvPr id="32" name="Rectangle 31"/>
          <p:cNvSpPr/>
          <p:nvPr/>
        </p:nvSpPr>
        <p:spPr>
          <a:xfrm>
            <a:off x="9723249" y="4736947"/>
            <a:ext cx="2819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+</a:t>
            </a:r>
          </a:p>
        </p:txBody>
      </p:sp>
      <p:sp>
        <p:nvSpPr>
          <p:cNvPr id="33" name="Rectangle 32"/>
          <p:cNvSpPr/>
          <p:nvPr/>
        </p:nvSpPr>
        <p:spPr>
          <a:xfrm>
            <a:off x="1015313" y="4736947"/>
            <a:ext cx="14380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External </a:t>
            </a:r>
            <a:r>
              <a:rPr lang="en-US" dirty="0"/>
              <a:t>User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977284" y="5938038"/>
            <a:ext cx="1428793" cy="2251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andatory</a:t>
            </a:r>
            <a:endParaRPr lang="en-US" dirty="0"/>
          </a:p>
        </p:txBody>
      </p:sp>
      <p:sp>
        <p:nvSpPr>
          <p:cNvPr id="35" name="Rectangle 34"/>
          <p:cNvSpPr/>
          <p:nvPr/>
        </p:nvSpPr>
        <p:spPr>
          <a:xfrm>
            <a:off x="4646400" y="5929498"/>
            <a:ext cx="1428793" cy="225193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ptional</a:t>
            </a:r>
          </a:p>
        </p:txBody>
      </p:sp>
      <p:sp>
        <p:nvSpPr>
          <p:cNvPr id="36" name="Rectangle 35"/>
          <p:cNvSpPr/>
          <p:nvPr/>
        </p:nvSpPr>
        <p:spPr>
          <a:xfrm>
            <a:off x="1976441" y="5865968"/>
            <a:ext cx="9537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Legends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2930228" y="1406124"/>
            <a:ext cx="1297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ermissions</a:t>
            </a:r>
            <a:endParaRPr 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8374657" y="1298912"/>
            <a:ext cx="9675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ntrols</a:t>
            </a:r>
            <a:endParaRPr lang="en-US" dirty="0"/>
          </a:p>
        </p:txBody>
      </p:sp>
      <p:sp>
        <p:nvSpPr>
          <p:cNvPr id="39" name="Rectangle 38"/>
          <p:cNvSpPr/>
          <p:nvPr/>
        </p:nvSpPr>
        <p:spPr>
          <a:xfrm>
            <a:off x="5134708" y="1631834"/>
            <a:ext cx="6893169" cy="391083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672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235974" y="914701"/>
            <a:ext cx="11369871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dirty="0" smtClean="0"/>
              <a:t>Permissions for each UI will be implemented at </a:t>
            </a:r>
            <a:r>
              <a:rPr lang="en-US" altLang="en-US" b="1" dirty="0" smtClean="0"/>
              <a:t>micro level only</a:t>
            </a:r>
          </a:p>
          <a:p>
            <a:r>
              <a:rPr lang="en-US" altLang="en-US" b="1" dirty="0"/>
              <a:t> </a:t>
            </a:r>
            <a:r>
              <a:rPr lang="en-US" altLang="en-US" b="1" dirty="0" smtClean="0"/>
              <a:t>     </a:t>
            </a:r>
            <a:r>
              <a:rPr lang="en-US" altLang="en-US" dirty="0" smtClean="0"/>
              <a:t>e.g. Entity group management feature will need below 5 permissions for all activities to perform</a:t>
            </a:r>
          </a:p>
          <a:p>
            <a:endParaRPr lang="en-US" alt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8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permissions will be used in CASPER: Ground rules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5383771"/>
              </p:ext>
            </p:extLst>
          </p:nvPr>
        </p:nvGraphicFramePr>
        <p:xfrm>
          <a:off x="891345" y="1774288"/>
          <a:ext cx="8773160" cy="15201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5527"/>
                <a:gridCol w="2162106"/>
                <a:gridCol w="4885527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Permission co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Permission Nam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Permission fo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P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smtClean="0">
                          <a:effectLst/>
                        </a:rPr>
                        <a:t>Prepare</a:t>
                      </a:r>
                      <a:r>
                        <a:rPr lang="en-US" sz="1600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1600" u="none" strike="noStrike" dirty="0" smtClean="0">
                          <a:effectLst/>
                        </a:rPr>
                        <a:t>Data </a:t>
                      </a:r>
                      <a:r>
                        <a:rPr lang="en-US" sz="1600" u="none" strike="noStrike" dirty="0">
                          <a:effectLst/>
                        </a:rPr>
                        <a:t>Definition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User can see </a:t>
                      </a:r>
                      <a:r>
                        <a:rPr lang="en-US" sz="1600" u="none" strike="noStrike" dirty="0" smtClean="0">
                          <a:effectLst/>
                        </a:rPr>
                        <a:t>"Definition</a:t>
                      </a:r>
                      <a:r>
                        <a:rPr lang="en-US" sz="1600" u="none" strike="noStrike" dirty="0">
                          <a:effectLst/>
                        </a:rPr>
                        <a:t>" in main menu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P_EG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Manage Entity Group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User can see "Manage Entity group" in sub menu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P_EG_VIEW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View Entity Group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User can see "View entity group" scree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P_EG_ADD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Add Entity Group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User can see "Add entity group" dialog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P_EG_EDI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dit Entity Group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User can see "Edit entity group" dialog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948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235974" y="914701"/>
            <a:ext cx="11369871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b="1" dirty="0" smtClean="0"/>
              <a:t>Granting of permissions to role can be at micro level or aggregate level</a:t>
            </a:r>
          </a:p>
          <a:p>
            <a:r>
              <a:rPr lang="en-US" altLang="en-US" b="1" dirty="0"/>
              <a:t> </a:t>
            </a:r>
            <a:r>
              <a:rPr lang="en-US" altLang="en-US" b="1" dirty="0" smtClean="0"/>
              <a:t>     </a:t>
            </a:r>
            <a:r>
              <a:rPr lang="en-US" altLang="en-US" dirty="0"/>
              <a:t>M</a:t>
            </a:r>
            <a:r>
              <a:rPr lang="en-US" altLang="en-US" dirty="0" smtClean="0"/>
              <a:t>eans In “Roles to permissions assignment” screen, user administrator can assign permissions at high level or low level (to be decided by business)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altLang="en-US" dirty="0" smtClean="0"/>
              <a:t>If “Data expert” role gets assigned permission called “Prepare Data Definitions” then implicit all other permissions are given</a:t>
            </a:r>
          </a:p>
          <a:p>
            <a:pPr marL="800100" lvl="1" indent="-342900">
              <a:buFont typeface="+mj-lt"/>
              <a:buAutoNum type="arabicPeriod"/>
            </a:pPr>
            <a:endParaRPr lang="en-US" altLang="en-US" dirty="0"/>
          </a:p>
          <a:p>
            <a:pPr marL="800100" lvl="1" indent="-342900">
              <a:buFont typeface="+mj-lt"/>
              <a:buAutoNum type="arabicPeriod"/>
            </a:pPr>
            <a:endParaRPr lang="en-US" altLang="en-US" dirty="0" smtClean="0"/>
          </a:p>
          <a:p>
            <a:pPr marL="800100" lvl="1" indent="-342900">
              <a:buFont typeface="+mj-lt"/>
              <a:buAutoNum type="arabicPeriod"/>
            </a:pPr>
            <a:endParaRPr lang="en-US" altLang="en-US" dirty="0"/>
          </a:p>
          <a:p>
            <a:pPr marL="800100" lvl="1" indent="-342900">
              <a:buFont typeface="+mj-lt"/>
              <a:buAutoNum type="arabicPeriod"/>
            </a:pPr>
            <a:endParaRPr lang="en-US" altLang="en-US" dirty="0" smtClean="0"/>
          </a:p>
          <a:p>
            <a:pPr marL="800100" lvl="1" indent="-342900">
              <a:buFont typeface="+mj-lt"/>
              <a:buAutoNum type="arabicPeriod"/>
            </a:pPr>
            <a:endParaRPr lang="en-US" altLang="en-US" dirty="0"/>
          </a:p>
          <a:p>
            <a:pPr marL="800100" lvl="1" indent="-342900">
              <a:buFont typeface="+mj-lt"/>
              <a:buAutoNum type="arabicPeriod"/>
            </a:pPr>
            <a:endParaRPr lang="en-US" altLang="en-US" dirty="0" smtClean="0"/>
          </a:p>
          <a:p>
            <a:pPr marL="800100" lvl="1" indent="-342900">
              <a:buFont typeface="+mj-lt"/>
              <a:buAutoNum type="arabicPeriod"/>
            </a:pPr>
            <a:endParaRPr lang="en-US" altLang="en-US" dirty="0"/>
          </a:p>
          <a:p>
            <a:pPr marL="800100" lvl="1" indent="-342900">
              <a:buFont typeface="+mj-lt"/>
              <a:buAutoNum type="arabicPeriod"/>
            </a:pPr>
            <a:r>
              <a:rPr lang="en-US" altLang="en-US" dirty="0"/>
              <a:t>Otherwise user can assign granular permissions directly. </a:t>
            </a:r>
          </a:p>
          <a:p>
            <a:pPr marL="800100" lvl="1" indent="-342900">
              <a:buFont typeface="+mj-lt"/>
              <a:buAutoNum type="arabicPeriod"/>
            </a:pPr>
            <a:endParaRPr lang="en-US" altLang="en-US" dirty="0" smtClean="0"/>
          </a:p>
          <a:p>
            <a:pPr marL="800100" lvl="1" indent="-342900">
              <a:buFont typeface="+mj-lt"/>
              <a:buAutoNum type="arabicPeriod"/>
            </a:pPr>
            <a:endParaRPr lang="en-US" altLang="en-US" dirty="0"/>
          </a:p>
          <a:p>
            <a:pPr marL="800100" lvl="1" indent="-342900">
              <a:buFont typeface="+mj-lt"/>
              <a:buAutoNum type="arabicPeriod"/>
            </a:pPr>
            <a:endParaRPr lang="en-US" alt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9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permissions will be used in CASPER: Ground rules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1840794"/>
              </p:ext>
            </p:extLst>
          </p:nvPr>
        </p:nvGraphicFramePr>
        <p:xfrm>
          <a:off x="1046088" y="2677454"/>
          <a:ext cx="3887633" cy="5067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5527"/>
                <a:gridCol w="2162106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Permission co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Permission Nam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P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smtClean="0">
                          <a:effectLst/>
                        </a:rPr>
                        <a:t>Prepare</a:t>
                      </a:r>
                      <a:r>
                        <a:rPr lang="en-US" sz="1600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1600" u="none" strike="noStrike" dirty="0" smtClean="0">
                          <a:effectLst/>
                        </a:rPr>
                        <a:t>Data </a:t>
                      </a:r>
                      <a:r>
                        <a:rPr lang="en-US" sz="1600" u="none" strike="noStrike" dirty="0">
                          <a:effectLst/>
                        </a:rPr>
                        <a:t>Definition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0045669"/>
              </p:ext>
            </p:extLst>
          </p:nvPr>
        </p:nvGraphicFramePr>
        <p:xfrm>
          <a:off x="5934976" y="2677454"/>
          <a:ext cx="3887633" cy="15201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5527"/>
                <a:gridCol w="2162106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Permission co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Permission Nam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P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smtClean="0">
                          <a:effectLst/>
                        </a:rPr>
                        <a:t>Prepare</a:t>
                      </a:r>
                      <a:r>
                        <a:rPr lang="en-US" sz="1600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1600" u="none" strike="noStrike" dirty="0" smtClean="0">
                          <a:effectLst/>
                        </a:rPr>
                        <a:t>Data </a:t>
                      </a:r>
                      <a:r>
                        <a:rPr lang="en-US" sz="1600" u="none" strike="noStrike" dirty="0">
                          <a:effectLst/>
                        </a:rPr>
                        <a:t>Definition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P_EG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Manage Entity Grou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DP_EG_VIEW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View Entity Grou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P_EG_ADD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Add Entity Grou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P_EG_EDI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Edit Entity Grou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902529" y="2330850"/>
            <a:ext cx="21838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Assigned Permissions</a:t>
            </a:r>
            <a:endParaRPr lang="en-US" u="sng" dirty="0"/>
          </a:p>
        </p:txBody>
      </p:sp>
      <p:sp>
        <p:nvSpPr>
          <p:cNvPr id="13" name="TextBox 12"/>
          <p:cNvSpPr txBox="1"/>
          <p:nvPr/>
        </p:nvSpPr>
        <p:spPr>
          <a:xfrm>
            <a:off x="5804938" y="2274172"/>
            <a:ext cx="21919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Received Permissions</a:t>
            </a:r>
            <a:endParaRPr lang="en-US" u="sng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3795130"/>
              </p:ext>
            </p:extLst>
          </p:nvPr>
        </p:nvGraphicFramePr>
        <p:xfrm>
          <a:off x="6053068" y="4880285"/>
          <a:ext cx="3887633" cy="1013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5527"/>
                <a:gridCol w="2162106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Permission co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Permission Nam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P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smtClean="0">
                          <a:effectLst/>
                        </a:rPr>
                        <a:t>Prepare</a:t>
                      </a:r>
                      <a:r>
                        <a:rPr lang="en-US" sz="1600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1600" u="none" strike="noStrike" dirty="0" smtClean="0">
                          <a:effectLst/>
                        </a:rPr>
                        <a:t>Data </a:t>
                      </a:r>
                      <a:r>
                        <a:rPr lang="en-US" sz="1600" u="none" strike="noStrike" dirty="0">
                          <a:effectLst/>
                        </a:rPr>
                        <a:t>Definition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DP_EG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Manage Entity Group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DP_EG_VIEW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View Entity Grou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1020621" y="4533681"/>
            <a:ext cx="21838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Assigned Permissions</a:t>
            </a:r>
            <a:endParaRPr lang="en-US" u="sng" dirty="0"/>
          </a:p>
        </p:txBody>
      </p:sp>
      <p:sp>
        <p:nvSpPr>
          <p:cNvPr id="15" name="TextBox 14"/>
          <p:cNvSpPr txBox="1"/>
          <p:nvPr/>
        </p:nvSpPr>
        <p:spPr>
          <a:xfrm>
            <a:off x="5923030" y="4477003"/>
            <a:ext cx="21919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Received Permissions</a:t>
            </a:r>
            <a:endParaRPr lang="en-US" u="sng" dirty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3589769"/>
              </p:ext>
            </p:extLst>
          </p:nvPr>
        </p:nvGraphicFramePr>
        <p:xfrm>
          <a:off x="1127031" y="4959691"/>
          <a:ext cx="3887633" cy="5067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5527"/>
                <a:gridCol w="2162106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Permission co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Permission Nam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DP_EG_VIEW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View Entity Grou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5741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247</TotalTime>
  <Words>1387</Words>
  <Application>Microsoft Office PowerPoint</Application>
  <PresentationFormat>Widescreen</PresentationFormat>
  <Paragraphs>410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MS PGothic</vt:lpstr>
      <vt:lpstr>Arial</vt:lpstr>
      <vt:lpstr>Arial Narrow</vt:lpstr>
      <vt:lpstr>Calibri</vt:lpstr>
      <vt:lpstr>Calibri Light</vt:lpstr>
      <vt:lpstr>Wingdings</vt:lpstr>
      <vt:lpstr>Office Theme</vt:lpstr>
      <vt:lpstr>think-cell Folie</vt:lpstr>
      <vt:lpstr>CASPER permissions management </vt:lpstr>
      <vt:lpstr>How to identify ECB user, NCB/NCA user &amp; External users for CASPER?</vt:lpstr>
      <vt:lpstr>Various roles in CASPER</vt:lpstr>
      <vt:lpstr>How CASPER user gets roles assigned in CASPER?</vt:lpstr>
      <vt:lpstr>How permissions will be linked to specific CASPER role</vt:lpstr>
      <vt:lpstr>How permissions will be linked to specific CASPER role</vt:lpstr>
      <vt:lpstr>How permissions &amp; country/entity restrictions works together</vt:lpstr>
      <vt:lpstr>How permissions will be used in CASPER: Ground rules</vt:lpstr>
      <vt:lpstr>How permissions will be used in CASPER: Ground rules</vt:lpstr>
      <vt:lpstr>Assigning permissions to Roles</vt:lpstr>
      <vt:lpstr>Assigning permissions to Roles</vt:lpstr>
      <vt:lpstr>Assigning permissions to Roles</vt:lpstr>
      <vt:lpstr>Assigning Roles to Users</vt:lpstr>
      <vt:lpstr>Role of user admins</vt:lpstr>
      <vt:lpstr>Assigning Roles to Users by super user admin</vt:lpstr>
      <vt:lpstr>Assigning Roles to Users by ECB user admin</vt:lpstr>
      <vt:lpstr>Assigning Roles to Users by ECB user admin</vt:lpstr>
      <vt:lpstr>Assigning Roles to Users by ECB user admin</vt:lpstr>
    </vt:vector>
  </TitlesOfParts>
  <Company>IBM Corporat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IBM</dc:creator>
  <cp:lastModifiedBy>Umesh Nimbalkar</cp:lastModifiedBy>
  <cp:revision>640</cp:revision>
  <cp:lastPrinted>2015-10-11T13:31:53Z</cp:lastPrinted>
  <dcterms:created xsi:type="dcterms:W3CDTF">2015-08-22T15:34:07Z</dcterms:created>
  <dcterms:modified xsi:type="dcterms:W3CDTF">2017-12-10T20:32:06Z</dcterms:modified>
</cp:coreProperties>
</file>